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1.xml" ContentType="application/vnd.openxmlformats-officedocument.presentationml.tags+xml"/>
  <Override PartName="/ppt/notesSlides/notesSlide7.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84" r:id="rId4"/>
  </p:sldMasterIdLst>
  <p:notesMasterIdLst>
    <p:notesMasterId r:id="rId19"/>
  </p:notesMasterIdLst>
  <p:handoutMasterIdLst>
    <p:handoutMasterId r:id="rId20"/>
  </p:handoutMasterIdLst>
  <p:sldIdLst>
    <p:sldId id="257" r:id="rId5"/>
    <p:sldId id="389" r:id="rId6"/>
    <p:sldId id="272" r:id="rId7"/>
    <p:sldId id="281" r:id="rId8"/>
    <p:sldId id="278" r:id="rId9"/>
    <p:sldId id="270" r:id="rId10"/>
    <p:sldId id="392" r:id="rId11"/>
    <p:sldId id="268" r:id="rId12"/>
    <p:sldId id="279" r:id="rId13"/>
    <p:sldId id="321" r:id="rId14"/>
    <p:sldId id="393" r:id="rId15"/>
    <p:sldId id="2844" r:id="rId16"/>
    <p:sldId id="2839" r:id="rId17"/>
    <p:sldId id="391" r:id="rId18"/>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2" pos="3840">
          <p15:clr>
            <a:srgbClr val="F26B43"/>
          </p15:clr>
        </p15:guide>
        <p15:guide id="3" orient="horz" pos="2160">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B7BDD03D-CD88-CFD0-5E19-4597B71A5307}" name="Currier, J. Bradford" initials="CJB" userId="S::J.Bradford.Currier@adeca.alabama.gov::752fd642-9dab-43bf-b215-419aad1515ba"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37335B"/>
    <a:srgbClr val="CCE8DA"/>
  </p:clrMru>
  <p:extLst>
    <p:ext uri="{E76CE94A-603C-4142-B9EB-6D1370010A27}">
      <p14:discardImageEditData xmlns:p14="http://schemas.microsoft.com/office/powerpoint/2010/main" val="0"/>
    </p:ext>
    <p:ext uri="{D31A062A-798A-4329-ABDD-BBA856620510}">
      <p14:defaultImageDpi xmlns:p14="http://schemas.microsoft.com/office/powerpoint/2010/main" val="15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B3808811-70A2-46BA-AE31-95F89926FC91}" v="6" dt="2023-01-09T19:13:13.343"/>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85BE263C-DBD7-4A20-BB59-AAB30ACAA65A}" styleName="Medium Style 3 - Accent 2">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2"/>
          </a:solidFill>
        </a:fill>
      </a:tcStyle>
    </a:lastCol>
    <a:firstCol>
      <a:tcTxStyle b="on">
        <a:fontRef idx="minor">
          <a:scrgbClr r="0" g="0" b="0"/>
        </a:fontRef>
        <a:schemeClr val="lt1"/>
      </a:tcTxStyle>
      <a:tcStyle>
        <a:tcBdr/>
        <a:fill>
          <a:solidFill>
            <a:schemeClr val="accent2"/>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5" autoAdjust="0"/>
    <p:restoredTop sz="93725" autoAdjust="0"/>
  </p:normalViewPr>
  <p:slideViewPr>
    <p:cSldViewPr snapToGrid="0">
      <p:cViewPr varScale="1">
        <p:scale>
          <a:sx n="86" d="100"/>
          <a:sy n="86" d="100"/>
        </p:scale>
        <p:origin x="562" y="58"/>
      </p:cViewPr>
      <p:guideLst>
        <p:guide pos="3840"/>
        <p:guide orient="horz" pos="2160"/>
      </p:guideLst>
    </p:cSldViewPr>
  </p:slideViewPr>
  <p:outlineViewPr>
    <p:cViewPr>
      <p:scale>
        <a:sx n="33" d="100"/>
        <a:sy n="33" d="100"/>
      </p:scale>
      <p:origin x="0" y="-2709"/>
    </p:cViewPr>
  </p:outlineViewPr>
  <p:notesTextViewPr>
    <p:cViewPr>
      <p:scale>
        <a:sx n="3" d="2"/>
        <a:sy n="3" d="2"/>
      </p:scale>
      <p:origin x="0" y="0"/>
    </p:cViewPr>
  </p:notesTextViewPr>
  <p:sorterViewPr>
    <p:cViewPr varScale="1">
      <p:scale>
        <a:sx n="1" d="1"/>
        <a:sy n="1" d="1"/>
      </p:scale>
      <p:origin x="0" y="0"/>
    </p:cViewPr>
  </p:sorterViewPr>
  <p:notesViewPr>
    <p:cSldViewPr snapToGrid="0">
      <p:cViewPr varScale="1">
        <p:scale>
          <a:sx n="48" d="100"/>
          <a:sy n="48" d="100"/>
        </p:scale>
        <p:origin x="1911" y="48"/>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microsoft.com/office/2015/10/relationships/revisionInfo" Target="revisionInfo.xml"/><Relationship Id="rId3" Type="http://schemas.openxmlformats.org/officeDocument/2006/relationships/customXml" Target="../customXml/item3.xml"/><Relationship Id="rId21" Type="http://schemas.openxmlformats.org/officeDocument/2006/relationships/presProps" Target="pres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microsoft.com/office/2016/11/relationships/changesInfo" Target="changesInfos/changesInfo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handoutMaster" Target="handoutMasters/handoutMaster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theme" Target="theme/theme1.xml"/><Relationship Id="rId10" Type="http://schemas.openxmlformats.org/officeDocument/2006/relationships/slide" Target="slides/slide6.xml"/><Relationship Id="rId19"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viewProps" Target="viewProps.xml"/><Relationship Id="rId27" Type="http://schemas.microsoft.com/office/2018/10/relationships/authors" Target="author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Neighbors, Maureen" userId="6b4c143f-acf1-48df-9363-aa587d3acc05" providerId="ADAL" clId="{B3808811-70A2-46BA-AE31-95F89926FC91}"/>
    <pc:docChg chg="undo custSel addSld delSld modSld sldOrd">
      <pc:chgData name="Neighbors, Maureen" userId="6b4c143f-acf1-48df-9363-aa587d3acc05" providerId="ADAL" clId="{B3808811-70A2-46BA-AE31-95F89926FC91}" dt="2023-01-09T19:13:36.180" v="110"/>
      <pc:docMkLst>
        <pc:docMk/>
      </pc:docMkLst>
      <pc:sldChg chg="modSp mod">
        <pc:chgData name="Neighbors, Maureen" userId="6b4c143f-acf1-48df-9363-aa587d3acc05" providerId="ADAL" clId="{B3808811-70A2-46BA-AE31-95F89926FC91}" dt="2023-01-09T16:12:37.449" v="5" actId="20577"/>
        <pc:sldMkLst>
          <pc:docMk/>
          <pc:sldMk cId="2496947791" sldId="278"/>
        </pc:sldMkLst>
        <pc:graphicFrameChg chg="modGraphic">
          <ac:chgData name="Neighbors, Maureen" userId="6b4c143f-acf1-48df-9363-aa587d3acc05" providerId="ADAL" clId="{B3808811-70A2-46BA-AE31-95F89926FC91}" dt="2023-01-09T16:12:37.449" v="5" actId="20577"/>
          <ac:graphicFrameMkLst>
            <pc:docMk/>
            <pc:sldMk cId="2496947791" sldId="278"/>
            <ac:graphicFrameMk id="13" creationId="{914D6EE3-4782-45C1-A75C-003483879C97}"/>
          </ac:graphicFrameMkLst>
        </pc:graphicFrameChg>
      </pc:sldChg>
      <pc:sldChg chg="modSp mod">
        <pc:chgData name="Neighbors, Maureen" userId="6b4c143f-acf1-48df-9363-aa587d3acc05" providerId="ADAL" clId="{B3808811-70A2-46BA-AE31-95F89926FC91}" dt="2023-01-09T17:17:14.051" v="104" actId="255"/>
        <pc:sldMkLst>
          <pc:docMk/>
          <pc:sldMk cId="1420547054" sldId="281"/>
        </pc:sldMkLst>
        <pc:spChg chg="mod">
          <ac:chgData name="Neighbors, Maureen" userId="6b4c143f-acf1-48df-9363-aa587d3acc05" providerId="ADAL" clId="{B3808811-70A2-46BA-AE31-95F89926FC91}" dt="2023-01-09T17:17:14.051" v="104" actId="255"/>
          <ac:spMkLst>
            <pc:docMk/>
            <pc:sldMk cId="1420547054" sldId="281"/>
            <ac:spMk id="7" creationId="{47788B34-4190-4916-9048-47720EA5ABF1}"/>
          </ac:spMkLst>
        </pc:spChg>
      </pc:sldChg>
      <pc:sldChg chg="modSp mod">
        <pc:chgData name="Neighbors, Maureen" userId="6b4c143f-acf1-48df-9363-aa587d3acc05" providerId="ADAL" clId="{B3808811-70A2-46BA-AE31-95F89926FC91}" dt="2023-01-09T17:15:27.934" v="27" actId="27636"/>
        <pc:sldMkLst>
          <pc:docMk/>
          <pc:sldMk cId="3521561301" sldId="321"/>
        </pc:sldMkLst>
        <pc:spChg chg="mod">
          <ac:chgData name="Neighbors, Maureen" userId="6b4c143f-acf1-48df-9363-aa587d3acc05" providerId="ADAL" clId="{B3808811-70A2-46BA-AE31-95F89926FC91}" dt="2023-01-09T17:14:19.227" v="14" actId="6549"/>
          <ac:spMkLst>
            <pc:docMk/>
            <pc:sldMk cId="3521561301" sldId="321"/>
            <ac:spMk id="11" creationId="{581E8936-2270-47FE-94A4-398CB123EF90}"/>
          </ac:spMkLst>
        </pc:spChg>
        <pc:spChg chg="mod">
          <ac:chgData name="Neighbors, Maureen" userId="6b4c143f-acf1-48df-9363-aa587d3acc05" providerId="ADAL" clId="{B3808811-70A2-46BA-AE31-95F89926FC91}" dt="2023-01-09T17:15:27.934" v="27" actId="27636"/>
          <ac:spMkLst>
            <pc:docMk/>
            <pc:sldMk cId="3521561301" sldId="321"/>
            <ac:spMk id="13" creationId="{C0287FEC-3826-4868-8D93-52429C6156F5}"/>
          </ac:spMkLst>
        </pc:spChg>
      </pc:sldChg>
      <pc:sldChg chg="modSp mod">
        <pc:chgData name="Neighbors, Maureen" userId="6b4c143f-acf1-48df-9363-aa587d3acc05" providerId="ADAL" clId="{B3808811-70A2-46BA-AE31-95F89926FC91}" dt="2023-01-09T17:16:20.916" v="70" actId="313"/>
        <pc:sldMkLst>
          <pc:docMk/>
          <pc:sldMk cId="2313234867" sldId="389"/>
        </pc:sldMkLst>
        <pc:spChg chg="mod">
          <ac:chgData name="Neighbors, Maureen" userId="6b4c143f-acf1-48df-9363-aa587d3acc05" providerId="ADAL" clId="{B3808811-70A2-46BA-AE31-95F89926FC91}" dt="2023-01-09T17:16:20.916" v="70" actId="313"/>
          <ac:spMkLst>
            <pc:docMk/>
            <pc:sldMk cId="2313234867" sldId="389"/>
            <ac:spMk id="3" creationId="{D3B60D6F-4D0F-4D33-B2A7-159C8583FF00}"/>
          </ac:spMkLst>
        </pc:spChg>
      </pc:sldChg>
      <pc:sldChg chg="modSp mod delCm modCm">
        <pc:chgData name="Neighbors, Maureen" userId="6b4c143f-acf1-48df-9363-aa587d3acc05" providerId="ADAL" clId="{B3808811-70A2-46BA-AE31-95F89926FC91}" dt="2023-01-09T17:13:42.634" v="13"/>
        <pc:sldMkLst>
          <pc:docMk/>
          <pc:sldMk cId="141007509" sldId="392"/>
        </pc:sldMkLst>
        <pc:graphicFrameChg chg="modGraphic">
          <ac:chgData name="Neighbors, Maureen" userId="6b4c143f-acf1-48df-9363-aa587d3acc05" providerId="ADAL" clId="{B3808811-70A2-46BA-AE31-95F89926FC91}" dt="2023-01-09T16:26:55.272" v="11" actId="20577"/>
          <ac:graphicFrameMkLst>
            <pc:docMk/>
            <pc:sldMk cId="141007509" sldId="392"/>
            <ac:graphicFrameMk id="9" creationId="{8446BA2D-41A7-467F-BB47-B9081705BF63}"/>
          </ac:graphicFrameMkLst>
        </pc:graphicFrameChg>
      </pc:sldChg>
      <pc:sldChg chg="add del">
        <pc:chgData name="Neighbors, Maureen" userId="6b4c143f-acf1-48df-9363-aa587d3acc05" providerId="ADAL" clId="{B3808811-70A2-46BA-AE31-95F89926FC91}" dt="2023-01-09T17:15:01.350" v="16" actId="2890"/>
        <pc:sldMkLst>
          <pc:docMk/>
          <pc:sldMk cId="2304362101" sldId="393"/>
        </pc:sldMkLst>
      </pc:sldChg>
      <pc:sldChg chg="modSp add mod ord">
        <pc:chgData name="Neighbors, Maureen" userId="6b4c143f-acf1-48df-9363-aa587d3acc05" providerId="ADAL" clId="{B3808811-70A2-46BA-AE31-95F89926FC91}" dt="2023-01-09T19:13:19.765" v="108"/>
        <pc:sldMkLst>
          <pc:docMk/>
          <pc:sldMk cId="3745382951" sldId="393"/>
        </pc:sldMkLst>
        <pc:spChg chg="mod">
          <ac:chgData name="Neighbors, Maureen" userId="6b4c143f-acf1-48df-9363-aa587d3acc05" providerId="ADAL" clId="{B3808811-70A2-46BA-AE31-95F89926FC91}" dt="2023-01-09T17:15:17.869" v="25" actId="14100"/>
          <ac:spMkLst>
            <pc:docMk/>
            <pc:sldMk cId="3745382951" sldId="393"/>
            <ac:spMk id="11" creationId="{581E8936-2270-47FE-94A4-398CB123EF90}"/>
          </ac:spMkLst>
        </pc:spChg>
        <pc:spChg chg="mod">
          <ac:chgData name="Neighbors, Maureen" userId="6b4c143f-acf1-48df-9363-aa587d3acc05" providerId="ADAL" clId="{B3808811-70A2-46BA-AE31-95F89926FC91}" dt="2023-01-09T17:15:40.475" v="29" actId="27636"/>
          <ac:spMkLst>
            <pc:docMk/>
            <pc:sldMk cId="3745382951" sldId="393"/>
            <ac:spMk id="13" creationId="{C0287FEC-3826-4868-8D93-52429C6156F5}"/>
          </ac:spMkLst>
        </pc:spChg>
      </pc:sldChg>
      <pc:sldChg chg="delSp">
        <pc:chgData name="Neighbors, Maureen" userId="6b4c143f-acf1-48df-9363-aa587d3acc05" providerId="ADAL" clId="{B3808811-70A2-46BA-AE31-95F89926FC91}" dt="2023-01-09T19:13:10.140" v="106"/>
        <pc:sldMkLst>
          <pc:docMk/>
          <pc:sldMk cId="1203061434" sldId="2839"/>
        </pc:sldMkLst>
        <pc:picChg chg="del">
          <ac:chgData name="Neighbors, Maureen" userId="6b4c143f-acf1-48df-9363-aa587d3acc05" providerId="ADAL" clId="{B3808811-70A2-46BA-AE31-95F89926FC91}" dt="2023-01-09T19:12:58.867" v="105"/>
          <ac:picMkLst>
            <pc:docMk/>
            <pc:sldMk cId="1203061434" sldId="2839"/>
            <ac:picMk id="6" creationId="{8253EB96-4E67-482E-B580-448A0E965FE8}"/>
          </ac:picMkLst>
        </pc:picChg>
        <pc:picChg chg="del">
          <ac:chgData name="Neighbors, Maureen" userId="6b4c143f-acf1-48df-9363-aa587d3acc05" providerId="ADAL" clId="{B3808811-70A2-46BA-AE31-95F89926FC91}" dt="2023-01-09T19:13:10.140" v="106"/>
          <ac:picMkLst>
            <pc:docMk/>
            <pc:sldMk cId="1203061434" sldId="2839"/>
            <ac:picMk id="7" creationId="{F52B56D2-A3F6-4F37-8EF9-EF486CF8DD72}"/>
          </ac:picMkLst>
        </pc:picChg>
      </pc:sldChg>
      <pc:sldChg chg="ord">
        <pc:chgData name="Neighbors, Maureen" userId="6b4c143f-acf1-48df-9363-aa587d3acc05" providerId="ADAL" clId="{B3808811-70A2-46BA-AE31-95F89926FC91}" dt="2023-01-09T19:13:36.180" v="110"/>
        <pc:sldMkLst>
          <pc:docMk/>
          <pc:sldMk cId="3455873073" sldId="2844"/>
        </pc:sldMkLst>
      </pc:sldChg>
    </pc:docChg>
  </pc:docChgLst>
  <pc:docChgLst>
    <pc:chgData name="Currier, J. Bradford" userId="752fd642-9dab-43bf-b215-419aad1515ba" providerId="ADAL" clId="{549ED481-C19C-4D60-A878-C877E62089AA}"/>
    <pc:docChg chg="undo custSel modSld">
      <pc:chgData name="Currier, J. Bradford" userId="752fd642-9dab-43bf-b215-419aad1515ba" providerId="ADAL" clId="{549ED481-C19C-4D60-A878-C877E62089AA}" dt="2023-01-09T15:28:44.506" v="63" actId="20577"/>
      <pc:docMkLst>
        <pc:docMk/>
      </pc:docMkLst>
      <pc:sldChg chg="modSp mod">
        <pc:chgData name="Currier, J. Bradford" userId="752fd642-9dab-43bf-b215-419aad1515ba" providerId="ADAL" clId="{549ED481-C19C-4D60-A878-C877E62089AA}" dt="2023-01-09T15:01:39.827" v="10" actId="20577"/>
        <pc:sldMkLst>
          <pc:docMk/>
          <pc:sldMk cId="752814286" sldId="257"/>
        </pc:sldMkLst>
        <pc:spChg chg="mod">
          <ac:chgData name="Currier, J. Bradford" userId="752fd642-9dab-43bf-b215-419aad1515ba" providerId="ADAL" clId="{549ED481-C19C-4D60-A878-C877E62089AA}" dt="2023-01-09T15:01:39.827" v="10" actId="20577"/>
          <ac:spMkLst>
            <pc:docMk/>
            <pc:sldMk cId="752814286" sldId="257"/>
            <ac:spMk id="3" creationId="{D9A11267-FC52-4990-8D98-010AFABA5544}"/>
          </ac:spMkLst>
        </pc:spChg>
      </pc:sldChg>
      <pc:sldChg chg="delSp modSp mod">
        <pc:chgData name="Currier, J. Bradford" userId="752fd642-9dab-43bf-b215-419aad1515ba" providerId="ADAL" clId="{549ED481-C19C-4D60-A878-C877E62089AA}" dt="2023-01-09T15:21:12.379" v="46" actId="478"/>
        <pc:sldMkLst>
          <pc:docMk/>
          <pc:sldMk cId="2979876663" sldId="268"/>
        </pc:sldMkLst>
        <pc:spChg chg="del">
          <ac:chgData name="Currier, J. Bradford" userId="752fd642-9dab-43bf-b215-419aad1515ba" providerId="ADAL" clId="{549ED481-C19C-4D60-A878-C877E62089AA}" dt="2023-01-09T15:21:11.152" v="45" actId="478"/>
          <ac:spMkLst>
            <pc:docMk/>
            <pc:sldMk cId="2979876663" sldId="268"/>
            <ac:spMk id="7" creationId="{45F69D6A-822D-4DB9-A2CC-D9106F1F2B68}"/>
          </ac:spMkLst>
        </pc:spChg>
        <pc:spChg chg="del">
          <ac:chgData name="Currier, J. Bradford" userId="752fd642-9dab-43bf-b215-419aad1515ba" providerId="ADAL" clId="{549ED481-C19C-4D60-A878-C877E62089AA}" dt="2023-01-09T15:21:12.379" v="46" actId="478"/>
          <ac:spMkLst>
            <pc:docMk/>
            <pc:sldMk cId="2979876663" sldId="268"/>
            <ac:spMk id="8" creationId="{6375D7F3-165A-439B-8D1D-6553B68C2886}"/>
          </ac:spMkLst>
        </pc:spChg>
        <pc:spChg chg="mod">
          <ac:chgData name="Currier, J. Bradford" userId="752fd642-9dab-43bf-b215-419aad1515ba" providerId="ADAL" clId="{549ED481-C19C-4D60-A878-C877E62089AA}" dt="2023-01-09T15:20:40.669" v="44" actId="20577"/>
          <ac:spMkLst>
            <pc:docMk/>
            <pc:sldMk cId="2979876663" sldId="268"/>
            <ac:spMk id="45" creationId="{FE5CD03B-066A-46AF-8FB8-E8A78074ABEF}"/>
          </ac:spMkLst>
        </pc:spChg>
      </pc:sldChg>
      <pc:sldChg chg="delSp mod">
        <pc:chgData name="Currier, J. Bradford" userId="752fd642-9dab-43bf-b215-419aad1515ba" providerId="ADAL" clId="{549ED481-C19C-4D60-A878-C877E62089AA}" dt="2023-01-09T15:15:31.157" v="35" actId="478"/>
        <pc:sldMkLst>
          <pc:docMk/>
          <pc:sldMk cId="3891345585" sldId="270"/>
        </pc:sldMkLst>
        <pc:spChg chg="del">
          <ac:chgData name="Currier, J. Bradford" userId="752fd642-9dab-43bf-b215-419aad1515ba" providerId="ADAL" clId="{549ED481-C19C-4D60-A878-C877E62089AA}" dt="2023-01-09T15:15:29.506" v="34" actId="478"/>
          <ac:spMkLst>
            <pc:docMk/>
            <pc:sldMk cId="3891345585" sldId="270"/>
            <ac:spMk id="4" creationId="{0C329F70-04F7-4C70-BCF8-D4371F54EF2F}"/>
          </ac:spMkLst>
        </pc:spChg>
        <pc:spChg chg="del">
          <ac:chgData name="Currier, J. Bradford" userId="752fd642-9dab-43bf-b215-419aad1515ba" providerId="ADAL" clId="{549ED481-C19C-4D60-A878-C877E62089AA}" dt="2023-01-09T15:15:31.157" v="35" actId="478"/>
          <ac:spMkLst>
            <pc:docMk/>
            <pc:sldMk cId="3891345585" sldId="270"/>
            <ac:spMk id="5" creationId="{06A3302E-502D-4151-81C9-5FD6AF9596D6}"/>
          </ac:spMkLst>
        </pc:spChg>
      </pc:sldChg>
      <pc:sldChg chg="addSp delSp mod">
        <pc:chgData name="Currier, J. Bradford" userId="752fd642-9dab-43bf-b215-419aad1515ba" providerId="ADAL" clId="{549ED481-C19C-4D60-A878-C877E62089AA}" dt="2023-01-09T15:06:06.974" v="18" actId="478"/>
        <pc:sldMkLst>
          <pc:docMk/>
          <pc:sldMk cId="2624630061" sldId="272"/>
        </pc:sldMkLst>
        <pc:spChg chg="del">
          <ac:chgData name="Currier, J. Bradford" userId="752fd642-9dab-43bf-b215-419aad1515ba" providerId="ADAL" clId="{549ED481-C19C-4D60-A878-C877E62089AA}" dt="2023-01-09T15:05:01.799" v="15" actId="478"/>
          <ac:spMkLst>
            <pc:docMk/>
            <pc:sldMk cId="2624630061" sldId="272"/>
            <ac:spMk id="2" creationId="{81FCAF0A-629F-4EC6-B3E6-563ED999F360}"/>
          </ac:spMkLst>
        </pc:spChg>
        <pc:spChg chg="add del">
          <ac:chgData name="Currier, J. Bradford" userId="752fd642-9dab-43bf-b215-419aad1515ba" providerId="ADAL" clId="{549ED481-C19C-4D60-A878-C877E62089AA}" dt="2023-01-09T15:06:06.974" v="18" actId="478"/>
          <ac:spMkLst>
            <pc:docMk/>
            <pc:sldMk cId="2624630061" sldId="272"/>
            <ac:spMk id="7" creationId="{920A7C57-D6C5-4BA0-AB3C-41D4E3436B0E}"/>
          </ac:spMkLst>
        </pc:spChg>
      </pc:sldChg>
      <pc:sldChg chg="delSp mod">
        <pc:chgData name="Currier, J. Bradford" userId="752fd642-9dab-43bf-b215-419aad1515ba" providerId="ADAL" clId="{549ED481-C19C-4D60-A878-C877E62089AA}" dt="2023-01-09T15:13:51.749" v="33" actId="478"/>
        <pc:sldMkLst>
          <pc:docMk/>
          <pc:sldMk cId="2496947791" sldId="278"/>
        </pc:sldMkLst>
        <pc:spChg chg="del">
          <ac:chgData name="Currier, J. Bradford" userId="752fd642-9dab-43bf-b215-419aad1515ba" providerId="ADAL" clId="{549ED481-C19C-4D60-A878-C877E62089AA}" dt="2023-01-09T15:13:50.005" v="32" actId="478"/>
          <ac:spMkLst>
            <pc:docMk/>
            <pc:sldMk cId="2496947791" sldId="278"/>
            <ac:spMk id="14" creationId="{DC738669-5750-45EA-9715-A0041D4C569B}"/>
          </ac:spMkLst>
        </pc:spChg>
        <pc:spChg chg="del">
          <ac:chgData name="Currier, J. Bradford" userId="752fd642-9dab-43bf-b215-419aad1515ba" providerId="ADAL" clId="{549ED481-C19C-4D60-A878-C877E62089AA}" dt="2023-01-09T15:13:51.749" v="33" actId="478"/>
          <ac:spMkLst>
            <pc:docMk/>
            <pc:sldMk cId="2496947791" sldId="278"/>
            <ac:spMk id="15" creationId="{CD05A243-8080-4F6D-8538-65CDDF891BA6}"/>
          </ac:spMkLst>
        </pc:spChg>
      </pc:sldChg>
      <pc:sldChg chg="delSp modSp mod">
        <pc:chgData name="Currier, J. Bradford" userId="752fd642-9dab-43bf-b215-419aad1515ba" providerId="ADAL" clId="{549ED481-C19C-4D60-A878-C877E62089AA}" dt="2023-01-09T15:23:16.953" v="56" actId="478"/>
        <pc:sldMkLst>
          <pc:docMk/>
          <pc:sldMk cId="395518310" sldId="279"/>
        </pc:sldMkLst>
        <pc:spChg chg="mod">
          <ac:chgData name="Currier, J. Bradford" userId="752fd642-9dab-43bf-b215-419aad1515ba" providerId="ADAL" clId="{549ED481-C19C-4D60-A878-C877E62089AA}" dt="2023-01-09T15:22:38.699" v="54" actId="20577"/>
          <ac:spMkLst>
            <pc:docMk/>
            <pc:sldMk cId="395518310" sldId="279"/>
            <ac:spMk id="15" creationId="{4139825C-53C7-44F4-A064-9795CECD081B}"/>
          </ac:spMkLst>
        </pc:spChg>
        <pc:spChg chg="del">
          <ac:chgData name="Currier, J. Bradford" userId="752fd642-9dab-43bf-b215-419aad1515ba" providerId="ADAL" clId="{549ED481-C19C-4D60-A878-C877E62089AA}" dt="2023-01-09T15:23:15.121" v="55" actId="478"/>
          <ac:spMkLst>
            <pc:docMk/>
            <pc:sldMk cId="395518310" sldId="279"/>
            <ac:spMk id="19" creationId="{386DB667-0553-4FB8-B0E0-776539934AFF}"/>
          </ac:spMkLst>
        </pc:spChg>
        <pc:spChg chg="del">
          <ac:chgData name="Currier, J. Bradford" userId="752fd642-9dab-43bf-b215-419aad1515ba" providerId="ADAL" clId="{549ED481-C19C-4D60-A878-C877E62089AA}" dt="2023-01-09T15:23:16.953" v="56" actId="478"/>
          <ac:spMkLst>
            <pc:docMk/>
            <pc:sldMk cId="395518310" sldId="279"/>
            <ac:spMk id="20" creationId="{C77C6228-C5A8-44DC-ABD7-A22A4475D3DF}"/>
          </ac:spMkLst>
        </pc:spChg>
      </pc:sldChg>
      <pc:sldChg chg="delSp modSp mod">
        <pc:chgData name="Currier, J. Bradford" userId="752fd642-9dab-43bf-b215-419aad1515ba" providerId="ADAL" clId="{549ED481-C19C-4D60-A878-C877E62089AA}" dt="2023-01-09T15:28:44.506" v="63" actId="20577"/>
        <pc:sldMkLst>
          <pc:docMk/>
          <pc:sldMk cId="1420547054" sldId="281"/>
        </pc:sldMkLst>
        <pc:spChg chg="mod">
          <ac:chgData name="Currier, J. Bradford" userId="752fd642-9dab-43bf-b215-419aad1515ba" providerId="ADAL" clId="{549ED481-C19C-4D60-A878-C877E62089AA}" dt="2023-01-09T15:11:10.008" v="29"/>
          <ac:spMkLst>
            <pc:docMk/>
            <pc:sldMk cId="1420547054" sldId="281"/>
            <ac:spMk id="11" creationId="{1D014E48-5DD9-49CE-AD5B-0FEF69204F68}"/>
          </ac:spMkLst>
        </pc:spChg>
        <pc:spChg chg="mod">
          <ac:chgData name="Currier, J. Bradford" userId="752fd642-9dab-43bf-b215-419aad1515ba" providerId="ADAL" clId="{549ED481-C19C-4D60-A878-C877E62089AA}" dt="2023-01-09T15:28:44.506" v="63" actId="20577"/>
          <ac:spMkLst>
            <pc:docMk/>
            <pc:sldMk cId="1420547054" sldId="281"/>
            <ac:spMk id="13" creationId="{258E9390-685C-4BAD-BFAD-EC56E81C4745}"/>
          </ac:spMkLst>
        </pc:spChg>
        <pc:spChg chg="del">
          <ac:chgData name="Currier, J. Bradford" userId="752fd642-9dab-43bf-b215-419aad1515ba" providerId="ADAL" clId="{549ED481-C19C-4D60-A878-C877E62089AA}" dt="2023-01-09T15:11:42.323" v="30" actId="478"/>
          <ac:spMkLst>
            <pc:docMk/>
            <pc:sldMk cId="1420547054" sldId="281"/>
            <ac:spMk id="14" creationId="{D236478C-E242-44E0-8357-C72C9B588CA7}"/>
          </ac:spMkLst>
        </pc:spChg>
        <pc:spChg chg="del">
          <ac:chgData name="Currier, J. Bradford" userId="752fd642-9dab-43bf-b215-419aad1515ba" providerId="ADAL" clId="{549ED481-C19C-4D60-A878-C877E62089AA}" dt="2023-01-09T15:11:43.997" v="31" actId="478"/>
          <ac:spMkLst>
            <pc:docMk/>
            <pc:sldMk cId="1420547054" sldId="281"/>
            <ac:spMk id="15" creationId="{65A6DC02-681E-4AF7-AC6E-57CDDB2FBA28}"/>
          </ac:spMkLst>
        </pc:spChg>
      </pc:sldChg>
      <pc:sldChg chg="delSp mod">
        <pc:chgData name="Currier, J. Bradford" userId="752fd642-9dab-43bf-b215-419aad1515ba" providerId="ADAL" clId="{549ED481-C19C-4D60-A878-C877E62089AA}" dt="2023-01-09T15:23:45.532" v="58" actId="478"/>
        <pc:sldMkLst>
          <pc:docMk/>
          <pc:sldMk cId="3521561301" sldId="321"/>
        </pc:sldMkLst>
        <pc:spChg chg="del">
          <ac:chgData name="Currier, J. Bradford" userId="752fd642-9dab-43bf-b215-419aad1515ba" providerId="ADAL" clId="{549ED481-C19C-4D60-A878-C877E62089AA}" dt="2023-01-09T15:23:43.912" v="57" actId="478"/>
          <ac:spMkLst>
            <pc:docMk/>
            <pc:sldMk cId="3521561301" sldId="321"/>
            <ac:spMk id="4" creationId="{0C329F70-04F7-4C70-BCF8-D4371F54EF2F}"/>
          </ac:spMkLst>
        </pc:spChg>
        <pc:spChg chg="del">
          <ac:chgData name="Currier, J. Bradford" userId="752fd642-9dab-43bf-b215-419aad1515ba" providerId="ADAL" clId="{549ED481-C19C-4D60-A878-C877E62089AA}" dt="2023-01-09T15:23:45.532" v="58" actId="478"/>
          <ac:spMkLst>
            <pc:docMk/>
            <pc:sldMk cId="3521561301" sldId="321"/>
            <ac:spMk id="5" creationId="{06A3302E-502D-4151-81C9-5FD6AF9596D6}"/>
          </ac:spMkLst>
        </pc:spChg>
      </pc:sldChg>
      <pc:sldChg chg="delSp modSp mod">
        <pc:chgData name="Currier, J. Bradford" userId="752fd642-9dab-43bf-b215-419aad1515ba" providerId="ADAL" clId="{549ED481-C19C-4D60-A878-C877E62089AA}" dt="2023-01-09T15:03:52.153" v="14" actId="478"/>
        <pc:sldMkLst>
          <pc:docMk/>
          <pc:sldMk cId="2313234867" sldId="389"/>
        </pc:sldMkLst>
        <pc:spChg chg="del mod">
          <ac:chgData name="Currier, J. Bradford" userId="752fd642-9dab-43bf-b215-419aad1515ba" providerId="ADAL" clId="{549ED481-C19C-4D60-A878-C877E62089AA}" dt="2023-01-09T15:03:49.758" v="13" actId="478"/>
          <ac:spMkLst>
            <pc:docMk/>
            <pc:sldMk cId="2313234867" sldId="389"/>
            <ac:spMk id="13" creationId="{915FE2C5-E66A-4405-B19E-2C5C546C98E4}"/>
          </ac:spMkLst>
        </pc:spChg>
        <pc:spChg chg="del mod">
          <ac:chgData name="Currier, J. Bradford" userId="752fd642-9dab-43bf-b215-419aad1515ba" providerId="ADAL" clId="{549ED481-C19C-4D60-A878-C877E62089AA}" dt="2023-01-09T15:03:52.153" v="14" actId="478"/>
          <ac:spMkLst>
            <pc:docMk/>
            <pc:sldMk cId="2313234867" sldId="389"/>
            <ac:spMk id="14" creationId="{B01DF4D0-78BC-4C8C-9570-26F0B225433A}"/>
          </ac:spMkLst>
        </pc:spChg>
      </pc:sldChg>
      <pc:sldChg chg="delSp mod">
        <pc:chgData name="Currier, J. Bradford" userId="752fd642-9dab-43bf-b215-419aad1515ba" providerId="ADAL" clId="{549ED481-C19C-4D60-A878-C877E62089AA}" dt="2023-01-09T15:23:59.732" v="60" actId="478"/>
        <pc:sldMkLst>
          <pc:docMk/>
          <pc:sldMk cId="3247798845" sldId="391"/>
        </pc:sldMkLst>
        <pc:spChg chg="del">
          <ac:chgData name="Currier, J. Bradford" userId="752fd642-9dab-43bf-b215-419aad1515ba" providerId="ADAL" clId="{549ED481-C19C-4D60-A878-C877E62089AA}" dt="2023-01-09T15:23:58.183" v="59" actId="478"/>
          <ac:spMkLst>
            <pc:docMk/>
            <pc:sldMk cId="3247798845" sldId="391"/>
            <ac:spMk id="4" creationId="{7823E305-6365-4345-8BD1-4A31C61D96CB}"/>
          </ac:spMkLst>
        </pc:spChg>
        <pc:spChg chg="del">
          <ac:chgData name="Currier, J. Bradford" userId="752fd642-9dab-43bf-b215-419aad1515ba" providerId="ADAL" clId="{549ED481-C19C-4D60-A878-C877E62089AA}" dt="2023-01-09T15:23:59.732" v="60" actId="478"/>
          <ac:spMkLst>
            <pc:docMk/>
            <pc:sldMk cId="3247798845" sldId="391"/>
            <ac:spMk id="5" creationId="{0B37A3FF-ED32-4C4A-A21F-848A3BF6F896}"/>
          </ac:spMkLst>
        </pc:spChg>
      </pc:sldChg>
      <pc:sldChg chg="delSp modSp mod addCm">
        <pc:chgData name="Currier, J. Bradford" userId="752fd642-9dab-43bf-b215-419aad1515ba" providerId="ADAL" clId="{549ED481-C19C-4D60-A878-C877E62089AA}" dt="2023-01-09T15:19:55" v="43" actId="478"/>
        <pc:sldMkLst>
          <pc:docMk/>
          <pc:sldMk cId="141007509" sldId="392"/>
        </pc:sldMkLst>
        <pc:spChg chg="del">
          <ac:chgData name="Currier, J. Bradford" userId="752fd642-9dab-43bf-b215-419aad1515ba" providerId="ADAL" clId="{549ED481-C19C-4D60-A878-C877E62089AA}" dt="2023-01-09T15:19:53.642" v="42" actId="478"/>
          <ac:spMkLst>
            <pc:docMk/>
            <pc:sldMk cId="141007509" sldId="392"/>
            <ac:spMk id="14" creationId="{DC738669-5750-45EA-9715-A0041D4C569B}"/>
          </ac:spMkLst>
        </pc:spChg>
        <pc:spChg chg="del">
          <ac:chgData name="Currier, J. Bradford" userId="752fd642-9dab-43bf-b215-419aad1515ba" providerId="ADAL" clId="{549ED481-C19C-4D60-A878-C877E62089AA}" dt="2023-01-09T15:19:55" v="43" actId="478"/>
          <ac:spMkLst>
            <pc:docMk/>
            <pc:sldMk cId="141007509" sldId="392"/>
            <ac:spMk id="15" creationId="{CD05A243-8080-4F6D-8538-65CDDF891BA6}"/>
          </ac:spMkLst>
        </pc:spChg>
        <pc:graphicFrameChg chg="modGraphic">
          <ac:chgData name="Currier, J. Bradford" userId="752fd642-9dab-43bf-b215-419aad1515ba" providerId="ADAL" clId="{549ED481-C19C-4D60-A878-C877E62089AA}" dt="2023-01-09T15:19:29.586" v="41" actId="20577"/>
          <ac:graphicFrameMkLst>
            <pc:docMk/>
            <pc:sldMk cId="141007509" sldId="392"/>
            <ac:graphicFrameMk id="9" creationId="{8446BA2D-41A7-467F-BB47-B9081705BF63}"/>
          </ac:graphicFrameMkLst>
        </pc:graphicFrameChg>
      </pc:sldChg>
    </pc:docChg>
  </pc:docChgLst>
</pc:chgInfo>
</file>

<file path=ppt/diagrams/colors1.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E5B2E815-0D19-41DC-B01B-4D608769620A}" type="doc">
      <dgm:prSet loTypeId="urn:microsoft.com/office/officeart/2016/7/layout/RoundedRectangleTimeline" loCatId="other" qsTypeId="urn:microsoft.com/office/officeart/2005/8/quickstyle/simple1" qsCatId="simple" csTypeId="urn:microsoft.com/office/officeart/2005/8/colors/colorful5" csCatId="colorful" phldr="1"/>
      <dgm:spPr/>
      <dgm:t>
        <a:bodyPr/>
        <a:lstStyle/>
        <a:p>
          <a:endParaRPr lang="en-US"/>
        </a:p>
      </dgm:t>
    </dgm:pt>
    <dgm:pt modelId="{4259F840-24E7-476F-9F30-482E46395856}">
      <dgm:prSet phldrT="[Text]" custT="1"/>
      <dgm:spPr/>
      <dgm:t>
        <a:bodyPr/>
        <a:lstStyle/>
        <a:p>
          <a:r>
            <a:rPr lang="en-US" sz="1800" dirty="0">
              <a:latin typeface="+mn-lt"/>
            </a:rPr>
            <a:t>2017</a:t>
          </a:r>
        </a:p>
      </dgm:t>
    </dgm:pt>
    <dgm:pt modelId="{FCE8068D-7E50-4749-A8D0-ADEDAC5637B3}" type="parTrans" cxnId="{42EE41D1-3C16-4937-BB38-B076896C09A0}">
      <dgm:prSet/>
      <dgm:spPr/>
      <dgm:t>
        <a:bodyPr/>
        <a:lstStyle/>
        <a:p>
          <a:endParaRPr lang="en-US" sz="1800">
            <a:latin typeface="+mn-lt"/>
          </a:endParaRPr>
        </a:p>
      </dgm:t>
    </dgm:pt>
    <dgm:pt modelId="{DCC444A4-F20A-48F5-A61E-47BFFF185A57}" type="sibTrans" cxnId="{42EE41D1-3C16-4937-BB38-B076896C09A0}">
      <dgm:prSet/>
      <dgm:spPr/>
      <dgm:t>
        <a:bodyPr/>
        <a:lstStyle/>
        <a:p>
          <a:endParaRPr lang="en-US" sz="1800">
            <a:latin typeface="+mn-lt"/>
          </a:endParaRPr>
        </a:p>
      </dgm:t>
    </dgm:pt>
    <dgm:pt modelId="{B54C8F6C-BE1E-4EAB-B7A0-48DE01FFAA36}">
      <dgm:prSet phldrT="[Text]" custT="1"/>
      <dgm:spPr/>
      <dgm:t>
        <a:bodyPr/>
        <a:lstStyle/>
        <a:p>
          <a:pPr algn="l">
            <a:buFont typeface="Symbol" panose="05050102010706020507" pitchFamily="18" charset="2"/>
            <a:buChar char=""/>
          </a:pPr>
          <a:r>
            <a:rPr lang="en-US" sz="1800" dirty="0"/>
            <a:t>Governor Ivey issued Executive Order 704, establishing ADECA as the agency to assume all powers, duties, responsibilities, authority, and obligations belonging to the Office of Broadband Development</a:t>
          </a:r>
          <a:endParaRPr lang="en-US" sz="1800" dirty="0">
            <a:latin typeface="+mn-lt"/>
          </a:endParaRPr>
        </a:p>
      </dgm:t>
    </dgm:pt>
    <dgm:pt modelId="{8DE7CD45-B7C0-432E-B819-6A7D97E31315}" type="parTrans" cxnId="{770CA1CC-3DDD-451E-AE83-A71CA570260C}">
      <dgm:prSet/>
      <dgm:spPr/>
      <dgm:t>
        <a:bodyPr/>
        <a:lstStyle/>
        <a:p>
          <a:endParaRPr lang="en-US" sz="1800">
            <a:latin typeface="+mn-lt"/>
          </a:endParaRPr>
        </a:p>
      </dgm:t>
    </dgm:pt>
    <dgm:pt modelId="{C33B8BEF-A818-4A2F-A99A-E2B29895E184}" type="sibTrans" cxnId="{770CA1CC-3DDD-451E-AE83-A71CA570260C}">
      <dgm:prSet/>
      <dgm:spPr/>
      <dgm:t>
        <a:bodyPr/>
        <a:lstStyle/>
        <a:p>
          <a:endParaRPr lang="en-US" sz="1800">
            <a:latin typeface="+mn-lt"/>
          </a:endParaRPr>
        </a:p>
      </dgm:t>
    </dgm:pt>
    <dgm:pt modelId="{E4033A39-DCC4-4038-9562-AEDDBBB37A99}">
      <dgm:prSet phldrT="[Text]" custT="1"/>
      <dgm:spPr/>
      <dgm:t>
        <a:bodyPr/>
        <a:lstStyle/>
        <a:p>
          <a:r>
            <a:rPr lang="en-US" sz="1800" dirty="0">
              <a:latin typeface="+mn-lt"/>
            </a:rPr>
            <a:t>2018</a:t>
          </a:r>
        </a:p>
      </dgm:t>
    </dgm:pt>
    <dgm:pt modelId="{048EEAE6-78BA-4B00-B7BB-9C22DBB1E8F4}" type="parTrans" cxnId="{32EF2862-2950-4DF8-BEA8-CD19460CCA31}">
      <dgm:prSet/>
      <dgm:spPr/>
      <dgm:t>
        <a:bodyPr/>
        <a:lstStyle/>
        <a:p>
          <a:endParaRPr lang="en-US" sz="1800">
            <a:latin typeface="+mn-lt"/>
          </a:endParaRPr>
        </a:p>
      </dgm:t>
    </dgm:pt>
    <dgm:pt modelId="{80AB0E5B-0C58-465D-A545-5B21133D2849}" type="sibTrans" cxnId="{32EF2862-2950-4DF8-BEA8-CD19460CCA31}">
      <dgm:prSet/>
      <dgm:spPr/>
      <dgm:t>
        <a:bodyPr/>
        <a:lstStyle/>
        <a:p>
          <a:endParaRPr lang="en-US" sz="1800">
            <a:latin typeface="+mn-lt"/>
          </a:endParaRPr>
        </a:p>
      </dgm:t>
    </dgm:pt>
    <dgm:pt modelId="{A4C0B4E4-70AD-4901-9E3F-7EA25DD6DAA1}">
      <dgm:prSet phldrT="[Text]" custT="1"/>
      <dgm:spPr/>
      <dgm:t>
        <a:bodyPr/>
        <a:lstStyle/>
        <a:p>
          <a:pPr algn="l">
            <a:buFont typeface="Symbol" panose="05050102010706020507" pitchFamily="18" charset="2"/>
            <a:buChar char=""/>
          </a:pPr>
          <a:r>
            <a:rPr lang="en-US" sz="1800" dirty="0"/>
            <a:t>Governor Kay Ivey signed the Alabama Broadband Accessibility Act establishing the Alabama Broadband Accessibility Fund (ABAF)</a:t>
          </a:r>
          <a:endParaRPr lang="en-US" sz="1800" dirty="0">
            <a:latin typeface="+mn-lt"/>
          </a:endParaRPr>
        </a:p>
      </dgm:t>
    </dgm:pt>
    <dgm:pt modelId="{701D9033-BAD3-4299-933F-A47AFDC2ECD0}" type="parTrans" cxnId="{5E74CB62-E52E-4CEE-8AA1-9812BFC0D67E}">
      <dgm:prSet/>
      <dgm:spPr/>
      <dgm:t>
        <a:bodyPr/>
        <a:lstStyle/>
        <a:p>
          <a:endParaRPr lang="en-US" sz="1800">
            <a:latin typeface="+mn-lt"/>
          </a:endParaRPr>
        </a:p>
      </dgm:t>
    </dgm:pt>
    <dgm:pt modelId="{657DB10D-2517-48AA-B970-6D815DBD4123}" type="sibTrans" cxnId="{5E74CB62-E52E-4CEE-8AA1-9812BFC0D67E}">
      <dgm:prSet/>
      <dgm:spPr/>
      <dgm:t>
        <a:bodyPr/>
        <a:lstStyle/>
        <a:p>
          <a:endParaRPr lang="en-US" sz="1800">
            <a:latin typeface="+mn-lt"/>
          </a:endParaRPr>
        </a:p>
      </dgm:t>
    </dgm:pt>
    <dgm:pt modelId="{87BF7896-20EA-4E8F-B6F4-A34EC5C9CB50}">
      <dgm:prSet phldrT="[Text]" custT="1"/>
      <dgm:spPr/>
      <dgm:t>
        <a:bodyPr/>
        <a:lstStyle/>
        <a:p>
          <a:r>
            <a:rPr lang="en-US" sz="1800" dirty="0">
              <a:latin typeface="+mn-lt"/>
            </a:rPr>
            <a:t>2019</a:t>
          </a:r>
        </a:p>
      </dgm:t>
    </dgm:pt>
    <dgm:pt modelId="{05E47BA5-F724-4AEE-9B5B-401F18E028E6}" type="parTrans" cxnId="{92330C11-C197-4512-BDA4-8D8A69AF7D1C}">
      <dgm:prSet/>
      <dgm:spPr/>
      <dgm:t>
        <a:bodyPr/>
        <a:lstStyle/>
        <a:p>
          <a:endParaRPr lang="en-US" sz="1800">
            <a:latin typeface="+mn-lt"/>
          </a:endParaRPr>
        </a:p>
      </dgm:t>
    </dgm:pt>
    <dgm:pt modelId="{D63CE73E-35DE-48C3-8753-7648BC953C0D}" type="sibTrans" cxnId="{92330C11-C197-4512-BDA4-8D8A69AF7D1C}">
      <dgm:prSet/>
      <dgm:spPr/>
      <dgm:t>
        <a:bodyPr/>
        <a:lstStyle/>
        <a:p>
          <a:endParaRPr lang="en-US" sz="1800">
            <a:latin typeface="+mn-lt"/>
          </a:endParaRPr>
        </a:p>
      </dgm:t>
    </dgm:pt>
    <dgm:pt modelId="{43CBB0A2-9D75-4264-8A30-3E8974B40658}">
      <dgm:prSet phldrT="[Text]" custT="1"/>
      <dgm:spPr/>
      <dgm:t>
        <a:bodyPr/>
        <a:lstStyle/>
        <a:p>
          <a:pPr algn="l">
            <a:buFont typeface="Symbol" panose="05050102010706020507" pitchFamily="18" charset="2"/>
            <a:buChar char=""/>
          </a:pPr>
          <a:r>
            <a:rPr lang="en-US" sz="1800" dirty="0"/>
            <a:t>Governor Ivey signed Act #2019-327, amending the original Alabama Broadband Accessibility Act</a:t>
          </a:r>
          <a:endParaRPr lang="en-US" sz="1800" dirty="0">
            <a:latin typeface="+mn-lt"/>
          </a:endParaRPr>
        </a:p>
      </dgm:t>
    </dgm:pt>
    <dgm:pt modelId="{F806E590-5F8E-48A1-96AC-9E738290D2ED}" type="parTrans" cxnId="{4D2DF581-8128-4440-9E51-29109DC6ED52}">
      <dgm:prSet/>
      <dgm:spPr/>
      <dgm:t>
        <a:bodyPr/>
        <a:lstStyle/>
        <a:p>
          <a:endParaRPr lang="en-US" sz="1800">
            <a:latin typeface="+mn-lt"/>
          </a:endParaRPr>
        </a:p>
      </dgm:t>
    </dgm:pt>
    <dgm:pt modelId="{20F77EFB-335C-4BC3-AD95-8421EDF343E6}" type="sibTrans" cxnId="{4D2DF581-8128-4440-9E51-29109DC6ED52}">
      <dgm:prSet/>
      <dgm:spPr/>
      <dgm:t>
        <a:bodyPr/>
        <a:lstStyle/>
        <a:p>
          <a:endParaRPr lang="en-US" sz="1800">
            <a:latin typeface="+mn-lt"/>
          </a:endParaRPr>
        </a:p>
      </dgm:t>
    </dgm:pt>
    <dgm:pt modelId="{3DE6FF16-CA4D-4D34-ABEB-8BE6A40B5E52}">
      <dgm:prSet phldrT="[Text]" custT="1"/>
      <dgm:spPr/>
      <dgm:t>
        <a:bodyPr/>
        <a:lstStyle/>
        <a:p>
          <a:pPr>
            <a:buFont typeface="Symbol" panose="05050102010706020507" pitchFamily="18" charset="2"/>
            <a:buChar char=""/>
          </a:pPr>
          <a:r>
            <a:rPr lang="en-US" sz="1800" dirty="0">
              <a:latin typeface="+mn-lt"/>
            </a:rPr>
            <a:t>2021</a:t>
          </a:r>
        </a:p>
      </dgm:t>
    </dgm:pt>
    <dgm:pt modelId="{DA9CCCCB-8206-4757-82C8-F885E9D238B5}" type="parTrans" cxnId="{636DE8C5-F706-4BA5-855F-85FD2239E2BE}">
      <dgm:prSet/>
      <dgm:spPr/>
      <dgm:t>
        <a:bodyPr/>
        <a:lstStyle/>
        <a:p>
          <a:endParaRPr lang="en-US" sz="1800"/>
        </a:p>
      </dgm:t>
    </dgm:pt>
    <dgm:pt modelId="{986162A7-6F89-4679-B40E-33A17DA21B73}" type="sibTrans" cxnId="{636DE8C5-F706-4BA5-855F-85FD2239E2BE}">
      <dgm:prSet/>
      <dgm:spPr/>
      <dgm:t>
        <a:bodyPr/>
        <a:lstStyle/>
        <a:p>
          <a:endParaRPr lang="en-US" sz="1800"/>
        </a:p>
      </dgm:t>
    </dgm:pt>
    <dgm:pt modelId="{AC76BE15-3E8A-498B-91BD-CF772C26B6F1}">
      <dgm:prSet phldrT="[Text]" custT="1"/>
      <dgm:spPr/>
      <dgm:t>
        <a:bodyPr/>
        <a:lstStyle/>
        <a:p>
          <a:pPr>
            <a:buFont typeface="Symbol" panose="05050102010706020507" pitchFamily="18" charset="2"/>
            <a:buChar char=""/>
          </a:pPr>
          <a:r>
            <a:rPr lang="en-US" sz="1800" dirty="0">
              <a:latin typeface="+mn-lt"/>
            </a:rPr>
            <a:t>2022</a:t>
          </a:r>
        </a:p>
      </dgm:t>
    </dgm:pt>
    <dgm:pt modelId="{00CCB400-064A-4EF5-9806-9534D9AC69AD}" type="parTrans" cxnId="{140A4778-8248-44DE-B78A-23C578A77D7E}">
      <dgm:prSet/>
      <dgm:spPr/>
      <dgm:t>
        <a:bodyPr/>
        <a:lstStyle/>
        <a:p>
          <a:endParaRPr lang="en-US" sz="1800"/>
        </a:p>
      </dgm:t>
    </dgm:pt>
    <dgm:pt modelId="{662A3D6E-7238-444F-BC0B-C7A4321261DB}" type="sibTrans" cxnId="{140A4778-8248-44DE-B78A-23C578A77D7E}">
      <dgm:prSet/>
      <dgm:spPr/>
      <dgm:t>
        <a:bodyPr/>
        <a:lstStyle/>
        <a:p>
          <a:endParaRPr lang="en-US" sz="1800"/>
        </a:p>
      </dgm:t>
    </dgm:pt>
    <dgm:pt modelId="{73820394-2159-4075-9E6F-217263B07F8B}">
      <dgm:prSet phldrT="[Text]" custT="1"/>
      <dgm:spPr/>
      <dgm:t>
        <a:bodyPr/>
        <a:lstStyle/>
        <a:p>
          <a:pPr algn="l">
            <a:buFont typeface="Symbol" panose="05050102010706020507" pitchFamily="18" charset="2"/>
            <a:buChar char=""/>
          </a:pPr>
          <a:r>
            <a:rPr lang="en-US" sz="1800" dirty="0"/>
            <a:t>Governor Ivey signed amendments to both the Alabama Broadband Accessibility Act and the Connect Alabama Act</a:t>
          </a:r>
          <a:endParaRPr lang="en-US" sz="1800" dirty="0">
            <a:latin typeface="+mn-lt"/>
          </a:endParaRPr>
        </a:p>
      </dgm:t>
    </dgm:pt>
    <dgm:pt modelId="{A861A835-3A0D-4B09-8870-87D7FDC7B27F}" type="parTrans" cxnId="{19CF03A0-47BE-4ABD-A62C-A27E16D6C5A3}">
      <dgm:prSet/>
      <dgm:spPr/>
      <dgm:t>
        <a:bodyPr/>
        <a:lstStyle/>
        <a:p>
          <a:endParaRPr lang="en-US" sz="1800"/>
        </a:p>
      </dgm:t>
    </dgm:pt>
    <dgm:pt modelId="{D383A36B-470D-499F-AE13-85A6B2495524}" type="sibTrans" cxnId="{19CF03A0-47BE-4ABD-A62C-A27E16D6C5A3}">
      <dgm:prSet/>
      <dgm:spPr/>
      <dgm:t>
        <a:bodyPr/>
        <a:lstStyle/>
        <a:p>
          <a:endParaRPr lang="en-US" sz="1800"/>
        </a:p>
      </dgm:t>
    </dgm:pt>
    <dgm:pt modelId="{C032D242-8D23-4EEC-A10A-7B0691E5A409}">
      <dgm:prSet phldrT="[Text]" custT="1"/>
      <dgm:spPr/>
      <dgm:t>
        <a:bodyPr/>
        <a:lstStyle/>
        <a:p>
          <a:pPr algn="l">
            <a:buFont typeface="Symbol" panose="05050102010706020507" pitchFamily="18" charset="2"/>
            <a:buChar char=""/>
          </a:pPr>
          <a:r>
            <a:rPr lang="en-US" sz="1800" b="0" i="0" dirty="0"/>
            <a:t>Governor Kay Ivey signed the Connect Alabama Act that created the Alabama Digital Expansion Authority and the Alabama Digital Expansion Division of ADECA</a:t>
          </a:r>
          <a:endParaRPr lang="en-US" sz="1800" dirty="0">
            <a:latin typeface="+mn-lt"/>
          </a:endParaRPr>
        </a:p>
      </dgm:t>
    </dgm:pt>
    <dgm:pt modelId="{167DA838-BF1F-42A4-81E8-806F40795A14}" type="parTrans" cxnId="{D9403C73-FB83-47D6-85AE-067D49ED63F2}">
      <dgm:prSet/>
      <dgm:spPr/>
      <dgm:t>
        <a:bodyPr/>
        <a:lstStyle/>
        <a:p>
          <a:endParaRPr lang="en-US" sz="1800"/>
        </a:p>
      </dgm:t>
    </dgm:pt>
    <dgm:pt modelId="{7EFA60CA-572D-434D-B452-A4ACBAEB4D2C}" type="sibTrans" cxnId="{D9403C73-FB83-47D6-85AE-067D49ED63F2}">
      <dgm:prSet/>
      <dgm:spPr/>
      <dgm:t>
        <a:bodyPr/>
        <a:lstStyle/>
        <a:p>
          <a:endParaRPr lang="en-US" sz="1800"/>
        </a:p>
      </dgm:t>
    </dgm:pt>
    <dgm:pt modelId="{196C9F68-3606-4282-A4C6-4485F1280B5F}" type="pres">
      <dgm:prSet presAssocID="{E5B2E815-0D19-41DC-B01B-4D608769620A}" presName="Name0" presStyleCnt="0">
        <dgm:presLayoutVars>
          <dgm:chMax/>
          <dgm:chPref/>
          <dgm:animLvl val="lvl"/>
        </dgm:presLayoutVars>
      </dgm:prSet>
      <dgm:spPr/>
    </dgm:pt>
    <dgm:pt modelId="{68D8AC18-502F-4825-B069-75605ADB3A40}" type="pres">
      <dgm:prSet presAssocID="{4259F840-24E7-476F-9F30-482E46395856}" presName="composite1" presStyleCnt="0"/>
      <dgm:spPr/>
    </dgm:pt>
    <dgm:pt modelId="{E088D226-49D7-4C30-90DC-CA1755D98829}" type="pres">
      <dgm:prSet presAssocID="{4259F840-24E7-476F-9F30-482E46395856}" presName="parent1" presStyleLbl="alignNode1" presStyleIdx="0" presStyleCnt="5">
        <dgm:presLayoutVars>
          <dgm:chMax val="1"/>
          <dgm:chPref val="1"/>
          <dgm:bulletEnabled val="1"/>
        </dgm:presLayoutVars>
      </dgm:prSet>
      <dgm:spPr/>
    </dgm:pt>
    <dgm:pt modelId="{45A02F84-C6CB-43F5-AEE4-3EA66C2BD25F}" type="pres">
      <dgm:prSet presAssocID="{4259F840-24E7-476F-9F30-482E46395856}" presName="Childtext1" presStyleLbl="revTx" presStyleIdx="0" presStyleCnt="5">
        <dgm:presLayoutVars>
          <dgm:bulletEnabled val="1"/>
        </dgm:presLayoutVars>
      </dgm:prSet>
      <dgm:spPr/>
    </dgm:pt>
    <dgm:pt modelId="{6BA46904-CB7C-4538-BD49-D3891EF19552}" type="pres">
      <dgm:prSet presAssocID="{4259F840-24E7-476F-9F30-482E46395856}" presName="ConnectLine1" presStyleLbl="sibTrans1D1" presStyleIdx="0" presStyleCnt="5"/>
      <dgm:spPr>
        <a:noFill/>
        <a:ln w="6350" cap="flat" cmpd="sng" algn="ctr">
          <a:solidFill>
            <a:schemeClr val="accent5">
              <a:hueOff val="0"/>
              <a:satOff val="0"/>
              <a:lumOff val="0"/>
              <a:alphaOff val="0"/>
            </a:schemeClr>
          </a:solidFill>
          <a:prstDash val="dash"/>
          <a:miter lim="800000"/>
        </a:ln>
        <a:effectLst/>
      </dgm:spPr>
    </dgm:pt>
    <dgm:pt modelId="{049FDBD0-77FE-49D1-A275-A272C8C5E426}" type="pres">
      <dgm:prSet presAssocID="{4259F840-24E7-476F-9F30-482E46395856}" presName="ConnectLineEnd1" presStyleLbl="lnNode1" presStyleIdx="0" presStyleCnt="5"/>
      <dgm:spPr/>
    </dgm:pt>
    <dgm:pt modelId="{CB26EA94-33BB-4F98-9E1E-2237D4831263}" type="pres">
      <dgm:prSet presAssocID="{4259F840-24E7-476F-9F30-482E46395856}" presName="EmptyPane1" presStyleCnt="0"/>
      <dgm:spPr/>
    </dgm:pt>
    <dgm:pt modelId="{606F1DBF-510E-4065-ACCB-3EBDA85CFB92}" type="pres">
      <dgm:prSet presAssocID="{DCC444A4-F20A-48F5-A61E-47BFFF185A57}" presName="spaceBetweenRectangles1" presStyleCnt="0"/>
      <dgm:spPr/>
    </dgm:pt>
    <dgm:pt modelId="{07989479-D1A2-4D15-AA3A-B0CFFB9F91D9}" type="pres">
      <dgm:prSet presAssocID="{E4033A39-DCC4-4038-9562-AEDDBBB37A99}" presName="composite1" presStyleCnt="0"/>
      <dgm:spPr/>
    </dgm:pt>
    <dgm:pt modelId="{539615E2-3277-4D8E-8484-FF5088C8BF01}" type="pres">
      <dgm:prSet presAssocID="{E4033A39-DCC4-4038-9562-AEDDBBB37A99}" presName="parent1" presStyleLbl="alignNode1" presStyleIdx="1" presStyleCnt="5">
        <dgm:presLayoutVars>
          <dgm:chMax val="1"/>
          <dgm:chPref val="1"/>
          <dgm:bulletEnabled val="1"/>
        </dgm:presLayoutVars>
      </dgm:prSet>
      <dgm:spPr/>
    </dgm:pt>
    <dgm:pt modelId="{FEBD3C2A-A340-470A-A475-AE614EA07678}" type="pres">
      <dgm:prSet presAssocID="{E4033A39-DCC4-4038-9562-AEDDBBB37A99}" presName="Childtext1" presStyleLbl="revTx" presStyleIdx="1" presStyleCnt="5">
        <dgm:presLayoutVars>
          <dgm:bulletEnabled val="1"/>
        </dgm:presLayoutVars>
      </dgm:prSet>
      <dgm:spPr/>
    </dgm:pt>
    <dgm:pt modelId="{080474C8-0FEA-4FD1-97F1-0978CFB4A37F}" type="pres">
      <dgm:prSet presAssocID="{E4033A39-DCC4-4038-9562-AEDDBBB37A99}" presName="ConnectLine1" presStyleLbl="sibTrans1D1" presStyleIdx="1" presStyleCnt="5"/>
      <dgm:spPr>
        <a:noFill/>
        <a:ln w="6350" cap="flat" cmpd="sng" algn="ctr">
          <a:solidFill>
            <a:schemeClr val="accent5">
              <a:hueOff val="90002"/>
              <a:satOff val="2173"/>
              <a:lumOff val="-10490"/>
              <a:alphaOff val="0"/>
            </a:schemeClr>
          </a:solidFill>
          <a:prstDash val="dash"/>
          <a:miter lim="800000"/>
        </a:ln>
        <a:effectLst/>
      </dgm:spPr>
    </dgm:pt>
    <dgm:pt modelId="{4797FB61-2602-4A58-81E6-6F133DB1E419}" type="pres">
      <dgm:prSet presAssocID="{E4033A39-DCC4-4038-9562-AEDDBBB37A99}" presName="ConnectLineEnd1" presStyleLbl="lnNode1" presStyleIdx="1" presStyleCnt="5"/>
      <dgm:spPr/>
    </dgm:pt>
    <dgm:pt modelId="{3ADF0AE3-D759-4F4F-8135-572855211847}" type="pres">
      <dgm:prSet presAssocID="{E4033A39-DCC4-4038-9562-AEDDBBB37A99}" presName="EmptyPane1" presStyleCnt="0"/>
      <dgm:spPr/>
    </dgm:pt>
    <dgm:pt modelId="{B0CD7A53-7149-45F2-83E8-36717D7878A1}" type="pres">
      <dgm:prSet presAssocID="{80AB0E5B-0C58-465D-A545-5B21133D2849}" presName="spaceBetweenRectangles1" presStyleCnt="0"/>
      <dgm:spPr/>
    </dgm:pt>
    <dgm:pt modelId="{FB379A6E-C0F9-420B-90FC-2785E757E6AE}" type="pres">
      <dgm:prSet presAssocID="{87BF7896-20EA-4E8F-B6F4-A34EC5C9CB50}" presName="composite1" presStyleCnt="0"/>
      <dgm:spPr/>
    </dgm:pt>
    <dgm:pt modelId="{9D82041D-873A-4600-A9C7-C0A0ADFB138B}" type="pres">
      <dgm:prSet presAssocID="{87BF7896-20EA-4E8F-B6F4-A34EC5C9CB50}" presName="parent1" presStyleLbl="alignNode1" presStyleIdx="2" presStyleCnt="5">
        <dgm:presLayoutVars>
          <dgm:chMax val="1"/>
          <dgm:chPref val="1"/>
          <dgm:bulletEnabled val="1"/>
        </dgm:presLayoutVars>
      </dgm:prSet>
      <dgm:spPr/>
    </dgm:pt>
    <dgm:pt modelId="{80CDBBF8-C6B4-4166-87C1-DC9120CC7586}" type="pres">
      <dgm:prSet presAssocID="{87BF7896-20EA-4E8F-B6F4-A34EC5C9CB50}" presName="Childtext1" presStyleLbl="revTx" presStyleIdx="2" presStyleCnt="5">
        <dgm:presLayoutVars>
          <dgm:bulletEnabled val="1"/>
        </dgm:presLayoutVars>
      </dgm:prSet>
      <dgm:spPr/>
    </dgm:pt>
    <dgm:pt modelId="{89759DE5-9F8A-470E-A6D8-F13BB4DEE93D}" type="pres">
      <dgm:prSet presAssocID="{87BF7896-20EA-4E8F-B6F4-A34EC5C9CB50}" presName="ConnectLine1" presStyleLbl="sibTrans1D1" presStyleIdx="2" presStyleCnt="5"/>
      <dgm:spPr>
        <a:noFill/>
        <a:ln w="6350" cap="flat" cmpd="sng" algn="ctr">
          <a:solidFill>
            <a:schemeClr val="accent5">
              <a:hueOff val="180003"/>
              <a:satOff val="4346"/>
              <a:lumOff val="-20980"/>
              <a:alphaOff val="0"/>
            </a:schemeClr>
          </a:solidFill>
          <a:prstDash val="dash"/>
          <a:miter lim="800000"/>
        </a:ln>
        <a:effectLst/>
      </dgm:spPr>
    </dgm:pt>
    <dgm:pt modelId="{07CCF286-8B46-4A20-ACAC-84BA2D6EFBBC}" type="pres">
      <dgm:prSet presAssocID="{87BF7896-20EA-4E8F-B6F4-A34EC5C9CB50}" presName="ConnectLineEnd1" presStyleLbl="lnNode1" presStyleIdx="2" presStyleCnt="5"/>
      <dgm:spPr/>
    </dgm:pt>
    <dgm:pt modelId="{4624FC32-5405-42B1-B5CC-DF0659852A58}" type="pres">
      <dgm:prSet presAssocID="{87BF7896-20EA-4E8F-B6F4-A34EC5C9CB50}" presName="EmptyPane1" presStyleCnt="0"/>
      <dgm:spPr/>
    </dgm:pt>
    <dgm:pt modelId="{8C327064-3851-4ECF-AAB7-82B51711041E}" type="pres">
      <dgm:prSet presAssocID="{D63CE73E-35DE-48C3-8753-7648BC953C0D}" presName="spaceBetweenRectangles1" presStyleCnt="0"/>
      <dgm:spPr/>
    </dgm:pt>
    <dgm:pt modelId="{3ADEA4DF-6814-494D-9D3D-41947417052B}" type="pres">
      <dgm:prSet presAssocID="{3DE6FF16-CA4D-4D34-ABEB-8BE6A40B5E52}" presName="composite1" presStyleCnt="0"/>
      <dgm:spPr/>
    </dgm:pt>
    <dgm:pt modelId="{74CD3FF2-195B-429B-BC6F-5B5A7FED2BE2}" type="pres">
      <dgm:prSet presAssocID="{3DE6FF16-CA4D-4D34-ABEB-8BE6A40B5E52}" presName="parent1" presStyleLbl="alignNode1" presStyleIdx="3" presStyleCnt="5">
        <dgm:presLayoutVars>
          <dgm:chMax val="1"/>
          <dgm:chPref val="1"/>
          <dgm:bulletEnabled val="1"/>
        </dgm:presLayoutVars>
      </dgm:prSet>
      <dgm:spPr/>
    </dgm:pt>
    <dgm:pt modelId="{1BB5FD64-47F9-47A3-911F-535BFE17A3B9}" type="pres">
      <dgm:prSet presAssocID="{3DE6FF16-CA4D-4D34-ABEB-8BE6A40B5E52}" presName="Childtext1" presStyleLbl="revTx" presStyleIdx="3" presStyleCnt="5">
        <dgm:presLayoutVars>
          <dgm:bulletEnabled val="1"/>
        </dgm:presLayoutVars>
      </dgm:prSet>
      <dgm:spPr/>
    </dgm:pt>
    <dgm:pt modelId="{FE9B27EB-7AC7-485A-9A55-41E8118F9EAF}" type="pres">
      <dgm:prSet presAssocID="{3DE6FF16-CA4D-4D34-ABEB-8BE6A40B5E52}" presName="ConnectLine1" presStyleLbl="sibTrans1D1" presStyleIdx="3" presStyleCnt="5"/>
      <dgm:spPr>
        <a:noFill/>
        <a:ln w="6350" cap="flat" cmpd="sng" algn="ctr">
          <a:solidFill>
            <a:schemeClr val="accent5">
              <a:hueOff val="270005"/>
              <a:satOff val="6519"/>
              <a:lumOff val="-31471"/>
              <a:alphaOff val="0"/>
            </a:schemeClr>
          </a:solidFill>
          <a:prstDash val="dash"/>
          <a:miter lim="800000"/>
        </a:ln>
        <a:effectLst/>
      </dgm:spPr>
    </dgm:pt>
    <dgm:pt modelId="{46BD4721-4664-4AD0-9F11-DBE7E0B207D5}" type="pres">
      <dgm:prSet presAssocID="{3DE6FF16-CA4D-4D34-ABEB-8BE6A40B5E52}" presName="ConnectLineEnd1" presStyleLbl="lnNode1" presStyleIdx="3" presStyleCnt="5"/>
      <dgm:spPr/>
    </dgm:pt>
    <dgm:pt modelId="{69028BD0-349D-4B47-B1F4-B64C6478DE3C}" type="pres">
      <dgm:prSet presAssocID="{3DE6FF16-CA4D-4D34-ABEB-8BE6A40B5E52}" presName="EmptyPane1" presStyleCnt="0"/>
      <dgm:spPr/>
    </dgm:pt>
    <dgm:pt modelId="{619CFBB1-86F5-45A6-80BA-23F97450662F}" type="pres">
      <dgm:prSet presAssocID="{986162A7-6F89-4679-B40E-33A17DA21B73}" presName="spaceBetweenRectangles1" presStyleCnt="0"/>
      <dgm:spPr/>
    </dgm:pt>
    <dgm:pt modelId="{E4E0A96A-AF87-442A-A1A3-64B8F3CFC7FE}" type="pres">
      <dgm:prSet presAssocID="{AC76BE15-3E8A-498B-91BD-CF772C26B6F1}" presName="composite1" presStyleCnt="0"/>
      <dgm:spPr/>
    </dgm:pt>
    <dgm:pt modelId="{483E7832-9872-48C4-8E65-DCB39D4CDBDF}" type="pres">
      <dgm:prSet presAssocID="{AC76BE15-3E8A-498B-91BD-CF772C26B6F1}" presName="parent1" presStyleLbl="alignNode1" presStyleIdx="4" presStyleCnt="5">
        <dgm:presLayoutVars>
          <dgm:chMax val="1"/>
          <dgm:chPref val="1"/>
          <dgm:bulletEnabled val="1"/>
        </dgm:presLayoutVars>
      </dgm:prSet>
      <dgm:spPr/>
    </dgm:pt>
    <dgm:pt modelId="{1FA3C236-5719-4A33-A6BB-80FA85F940E3}" type="pres">
      <dgm:prSet presAssocID="{AC76BE15-3E8A-498B-91BD-CF772C26B6F1}" presName="Childtext1" presStyleLbl="revTx" presStyleIdx="4" presStyleCnt="5">
        <dgm:presLayoutVars>
          <dgm:bulletEnabled val="1"/>
        </dgm:presLayoutVars>
      </dgm:prSet>
      <dgm:spPr/>
    </dgm:pt>
    <dgm:pt modelId="{18F1C823-9ACD-4FCD-8102-F468DCE57A45}" type="pres">
      <dgm:prSet presAssocID="{AC76BE15-3E8A-498B-91BD-CF772C26B6F1}" presName="ConnectLine1" presStyleLbl="sibTrans1D1" presStyleIdx="4" presStyleCnt="5"/>
      <dgm:spPr>
        <a:noFill/>
        <a:ln w="6350" cap="flat" cmpd="sng" algn="ctr">
          <a:solidFill>
            <a:schemeClr val="accent5">
              <a:hueOff val="360006"/>
              <a:satOff val="8692"/>
              <a:lumOff val="-41961"/>
              <a:alphaOff val="0"/>
            </a:schemeClr>
          </a:solidFill>
          <a:prstDash val="dash"/>
          <a:miter lim="800000"/>
        </a:ln>
        <a:effectLst/>
      </dgm:spPr>
    </dgm:pt>
    <dgm:pt modelId="{F8AD0AB8-BBDF-4F0A-A6A0-850E289DD521}" type="pres">
      <dgm:prSet presAssocID="{AC76BE15-3E8A-498B-91BD-CF772C26B6F1}" presName="ConnectLineEnd1" presStyleLbl="lnNode1" presStyleIdx="4" presStyleCnt="5"/>
      <dgm:spPr/>
    </dgm:pt>
    <dgm:pt modelId="{11CAE2E7-2E06-450A-A729-9C2DCEF85421}" type="pres">
      <dgm:prSet presAssocID="{AC76BE15-3E8A-498B-91BD-CF772C26B6F1}" presName="EmptyPane1" presStyleCnt="0"/>
      <dgm:spPr/>
    </dgm:pt>
  </dgm:ptLst>
  <dgm:cxnLst>
    <dgm:cxn modelId="{58AF9605-98E3-490C-9551-60E5D74419A2}" type="presOf" srcId="{3DE6FF16-CA4D-4D34-ABEB-8BE6A40B5E52}" destId="{74CD3FF2-195B-429B-BC6F-5B5A7FED2BE2}" srcOrd="0" destOrd="0" presId="urn:microsoft.com/office/officeart/2016/7/layout/RoundedRectangleTimeline"/>
    <dgm:cxn modelId="{467F290A-9E2A-412E-AF06-428DAA68BEDD}" type="presOf" srcId="{E4033A39-DCC4-4038-9562-AEDDBBB37A99}" destId="{539615E2-3277-4D8E-8484-FF5088C8BF01}" srcOrd="0" destOrd="0" presId="urn:microsoft.com/office/officeart/2016/7/layout/RoundedRectangleTimeline"/>
    <dgm:cxn modelId="{A2A50010-8F67-49E4-9B0A-E0F7FDA9656C}" type="presOf" srcId="{B54C8F6C-BE1E-4EAB-B7A0-48DE01FFAA36}" destId="{45A02F84-C6CB-43F5-AEE4-3EA66C2BD25F}" srcOrd="0" destOrd="0" presId="urn:microsoft.com/office/officeart/2016/7/layout/RoundedRectangleTimeline"/>
    <dgm:cxn modelId="{92330C11-C197-4512-BDA4-8D8A69AF7D1C}" srcId="{E5B2E815-0D19-41DC-B01B-4D608769620A}" destId="{87BF7896-20EA-4E8F-B6F4-A34EC5C9CB50}" srcOrd="2" destOrd="0" parTransId="{05E47BA5-F724-4AEE-9B5B-401F18E028E6}" sibTransId="{D63CE73E-35DE-48C3-8753-7648BC953C0D}"/>
    <dgm:cxn modelId="{D88F5139-A3BF-4F98-ABB0-AEE7243465CB}" type="presOf" srcId="{87BF7896-20EA-4E8F-B6F4-A34EC5C9CB50}" destId="{9D82041D-873A-4600-A9C7-C0A0ADFB138B}" srcOrd="0" destOrd="0" presId="urn:microsoft.com/office/officeart/2016/7/layout/RoundedRectangleTimeline"/>
    <dgm:cxn modelId="{32EF2862-2950-4DF8-BEA8-CD19460CCA31}" srcId="{E5B2E815-0D19-41DC-B01B-4D608769620A}" destId="{E4033A39-DCC4-4038-9562-AEDDBBB37A99}" srcOrd="1" destOrd="0" parTransId="{048EEAE6-78BA-4B00-B7BB-9C22DBB1E8F4}" sibTransId="{80AB0E5B-0C58-465D-A545-5B21133D2849}"/>
    <dgm:cxn modelId="{5E74CB62-E52E-4CEE-8AA1-9812BFC0D67E}" srcId="{E4033A39-DCC4-4038-9562-AEDDBBB37A99}" destId="{A4C0B4E4-70AD-4901-9E3F-7EA25DD6DAA1}" srcOrd="0" destOrd="0" parTransId="{701D9033-BAD3-4299-933F-A47AFDC2ECD0}" sibTransId="{657DB10D-2517-48AA-B970-6D815DBD4123}"/>
    <dgm:cxn modelId="{4653A150-E557-4235-B1A1-18156274D965}" type="presOf" srcId="{4259F840-24E7-476F-9F30-482E46395856}" destId="{E088D226-49D7-4C30-90DC-CA1755D98829}" srcOrd="0" destOrd="0" presId="urn:microsoft.com/office/officeart/2016/7/layout/RoundedRectangleTimeline"/>
    <dgm:cxn modelId="{E6B56652-B46A-4546-9536-64D675143F1B}" type="presOf" srcId="{A4C0B4E4-70AD-4901-9E3F-7EA25DD6DAA1}" destId="{FEBD3C2A-A340-470A-A475-AE614EA07678}" srcOrd="0" destOrd="0" presId="urn:microsoft.com/office/officeart/2016/7/layout/RoundedRectangleTimeline"/>
    <dgm:cxn modelId="{D9403C73-FB83-47D6-85AE-067D49ED63F2}" srcId="{3DE6FF16-CA4D-4D34-ABEB-8BE6A40B5E52}" destId="{C032D242-8D23-4EEC-A10A-7B0691E5A409}" srcOrd="0" destOrd="0" parTransId="{167DA838-BF1F-42A4-81E8-806F40795A14}" sibTransId="{7EFA60CA-572D-434D-B452-A4ACBAEB4D2C}"/>
    <dgm:cxn modelId="{140A4778-8248-44DE-B78A-23C578A77D7E}" srcId="{E5B2E815-0D19-41DC-B01B-4D608769620A}" destId="{AC76BE15-3E8A-498B-91BD-CF772C26B6F1}" srcOrd="4" destOrd="0" parTransId="{00CCB400-064A-4EF5-9806-9534D9AC69AD}" sibTransId="{662A3D6E-7238-444F-BC0B-C7A4321261DB}"/>
    <dgm:cxn modelId="{020D505A-97FA-43DD-A9A1-2501AD46F8AF}" type="presOf" srcId="{43CBB0A2-9D75-4264-8A30-3E8974B40658}" destId="{80CDBBF8-C6B4-4166-87C1-DC9120CC7586}" srcOrd="0" destOrd="0" presId="urn:microsoft.com/office/officeart/2016/7/layout/RoundedRectangleTimeline"/>
    <dgm:cxn modelId="{4D2DF581-8128-4440-9E51-29109DC6ED52}" srcId="{87BF7896-20EA-4E8F-B6F4-A34EC5C9CB50}" destId="{43CBB0A2-9D75-4264-8A30-3E8974B40658}" srcOrd="0" destOrd="0" parTransId="{F806E590-5F8E-48A1-96AC-9E738290D2ED}" sibTransId="{20F77EFB-335C-4BC3-AD95-8421EDF343E6}"/>
    <dgm:cxn modelId="{67A67F8B-14DC-457C-93BE-25105825881F}" type="presOf" srcId="{AC76BE15-3E8A-498B-91BD-CF772C26B6F1}" destId="{483E7832-9872-48C4-8E65-DCB39D4CDBDF}" srcOrd="0" destOrd="0" presId="urn:microsoft.com/office/officeart/2016/7/layout/RoundedRectangleTimeline"/>
    <dgm:cxn modelId="{C8CAF48F-322D-43C3-A68B-40DA904320AC}" type="presOf" srcId="{E5B2E815-0D19-41DC-B01B-4D608769620A}" destId="{196C9F68-3606-4282-A4C6-4485F1280B5F}" srcOrd="0" destOrd="0" presId="urn:microsoft.com/office/officeart/2016/7/layout/RoundedRectangleTimeline"/>
    <dgm:cxn modelId="{19CF03A0-47BE-4ABD-A62C-A27E16D6C5A3}" srcId="{AC76BE15-3E8A-498B-91BD-CF772C26B6F1}" destId="{73820394-2159-4075-9E6F-217263B07F8B}" srcOrd="0" destOrd="0" parTransId="{A861A835-3A0D-4B09-8870-87D7FDC7B27F}" sibTransId="{D383A36B-470D-499F-AE13-85A6B2495524}"/>
    <dgm:cxn modelId="{D473BBA6-FF54-423D-9B9B-875C8AA2545B}" type="presOf" srcId="{73820394-2159-4075-9E6F-217263B07F8B}" destId="{1FA3C236-5719-4A33-A6BB-80FA85F940E3}" srcOrd="0" destOrd="0" presId="urn:microsoft.com/office/officeart/2016/7/layout/RoundedRectangleTimeline"/>
    <dgm:cxn modelId="{636DE8C5-F706-4BA5-855F-85FD2239E2BE}" srcId="{E5B2E815-0D19-41DC-B01B-4D608769620A}" destId="{3DE6FF16-CA4D-4D34-ABEB-8BE6A40B5E52}" srcOrd="3" destOrd="0" parTransId="{DA9CCCCB-8206-4757-82C8-F885E9D238B5}" sibTransId="{986162A7-6F89-4679-B40E-33A17DA21B73}"/>
    <dgm:cxn modelId="{770CA1CC-3DDD-451E-AE83-A71CA570260C}" srcId="{4259F840-24E7-476F-9F30-482E46395856}" destId="{B54C8F6C-BE1E-4EAB-B7A0-48DE01FFAA36}" srcOrd="0" destOrd="0" parTransId="{8DE7CD45-B7C0-432E-B819-6A7D97E31315}" sibTransId="{C33B8BEF-A818-4A2F-A99A-E2B29895E184}"/>
    <dgm:cxn modelId="{42EE41D1-3C16-4937-BB38-B076896C09A0}" srcId="{E5B2E815-0D19-41DC-B01B-4D608769620A}" destId="{4259F840-24E7-476F-9F30-482E46395856}" srcOrd="0" destOrd="0" parTransId="{FCE8068D-7E50-4749-A8D0-ADEDAC5637B3}" sibTransId="{DCC444A4-F20A-48F5-A61E-47BFFF185A57}"/>
    <dgm:cxn modelId="{546179F7-5E1B-4360-8938-B9238DA6DE5D}" type="presOf" srcId="{C032D242-8D23-4EEC-A10A-7B0691E5A409}" destId="{1BB5FD64-47F9-47A3-911F-535BFE17A3B9}" srcOrd="0" destOrd="0" presId="urn:microsoft.com/office/officeart/2016/7/layout/RoundedRectangleTimeline"/>
    <dgm:cxn modelId="{B5EA3CD6-0576-4168-82C9-9ADC0803B31E}" type="presParOf" srcId="{196C9F68-3606-4282-A4C6-4485F1280B5F}" destId="{68D8AC18-502F-4825-B069-75605ADB3A40}" srcOrd="0" destOrd="0" presId="urn:microsoft.com/office/officeart/2016/7/layout/RoundedRectangleTimeline"/>
    <dgm:cxn modelId="{30A197C5-075F-4643-BF26-64BC9FAF532F}" type="presParOf" srcId="{68D8AC18-502F-4825-B069-75605ADB3A40}" destId="{E088D226-49D7-4C30-90DC-CA1755D98829}" srcOrd="0" destOrd="0" presId="urn:microsoft.com/office/officeart/2016/7/layout/RoundedRectangleTimeline"/>
    <dgm:cxn modelId="{DBAA9861-CCB2-4B8A-A3AA-B305A4B5783E}" type="presParOf" srcId="{68D8AC18-502F-4825-B069-75605ADB3A40}" destId="{45A02F84-C6CB-43F5-AEE4-3EA66C2BD25F}" srcOrd="1" destOrd="0" presId="urn:microsoft.com/office/officeart/2016/7/layout/RoundedRectangleTimeline"/>
    <dgm:cxn modelId="{3F249148-C6F7-40D3-8583-B11C276DE023}" type="presParOf" srcId="{68D8AC18-502F-4825-B069-75605ADB3A40}" destId="{6BA46904-CB7C-4538-BD49-D3891EF19552}" srcOrd="2" destOrd="0" presId="urn:microsoft.com/office/officeart/2016/7/layout/RoundedRectangleTimeline"/>
    <dgm:cxn modelId="{337BF8D5-8206-4D0E-857F-BA46391BB745}" type="presParOf" srcId="{68D8AC18-502F-4825-B069-75605ADB3A40}" destId="{049FDBD0-77FE-49D1-A275-A272C8C5E426}" srcOrd="3" destOrd="0" presId="urn:microsoft.com/office/officeart/2016/7/layout/RoundedRectangleTimeline"/>
    <dgm:cxn modelId="{8E042F31-23CC-40C0-92DC-707183B24E81}" type="presParOf" srcId="{68D8AC18-502F-4825-B069-75605ADB3A40}" destId="{CB26EA94-33BB-4F98-9E1E-2237D4831263}" srcOrd="4" destOrd="0" presId="urn:microsoft.com/office/officeart/2016/7/layout/RoundedRectangleTimeline"/>
    <dgm:cxn modelId="{16926BC1-FC34-413E-B35A-2F54A781CCCD}" type="presParOf" srcId="{196C9F68-3606-4282-A4C6-4485F1280B5F}" destId="{606F1DBF-510E-4065-ACCB-3EBDA85CFB92}" srcOrd="1" destOrd="0" presId="urn:microsoft.com/office/officeart/2016/7/layout/RoundedRectangleTimeline"/>
    <dgm:cxn modelId="{42F07C1F-C715-41B1-8356-B99F8CE1AC01}" type="presParOf" srcId="{196C9F68-3606-4282-A4C6-4485F1280B5F}" destId="{07989479-D1A2-4D15-AA3A-B0CFFB9F91D9}" srcOrd="2" destOrd="0" presId="urn:microsoft.com/office/officeart/2016/7/layout/RoundedRectangleTimeline"/>
    <dgm:cxn modelId="{5856EE22-FE01-4788-BBF3-407A68D5A730}" type="presParOf" srcId="{07989479-D1A2-4D15-AA3A-B0CFFB9F91D9}" destId="{539615E2-3277-4D8E-8484-FF5088C8BF01}" srcOrd="0" destOrd="0" presId="urn:microsoft.com/office/officeart/2016/7/layout/RoundedRectangleTimeline"/>
    <dgm:cxn modelId="{3004EE47-5347-4BBA-95CC-D947A73AE485}" type="presParOf" srcId="{07989479-D1A2-4D15-AA3A-B0CFFB9F91D9}" destId="{FEBD3C2A-A340-470A-A475-AE614EA07678}" srcOrd="1" destOrd="0" presId="urn:microsoft.com/office/officeart/2016/7/layout/RoundedRectangleTimeline"/>
    <dgm:cxn modelId="{400A75AC-5289-4270-AC07-416891AF3888}" type="presParOf" srcId="{07989479-D1A2-4D15-AA3A-B0CFFB9F91D9}" destId="{080474C8-0FEA-4FD1-97F1-0978CFB4A37F}" srcOrd="2" destOrd="0" presId="urn:microsoft.com/office/officeart/2016/7/layout/RoundedRectangleTimeline"/>
    <dgm:cxn modelId="{304EB087-DD14-4AA8-8A06-DF9485956226}" type="presParOf" srcId="{07989479-D1A2-4D15-AA3A-B0CFFB9F91D9}" destId="{4797FB61-2602-4A58-81E6-6F133DB1E419}" srcOrd="3" destOrd="0" presId="urn:microsoft.com/office/officeart/2016/7/layout/RoundedRectangleTimeline"/>
    <dgm:cxn modelId="{BC4CC356-31E8-4421-B18C-CB3697E73FAC}" type="presParOf" srcId="{07989479-D1A2-4D15-AA3A-B0CFFB9F91D9}" destId="{3ADF0AE3-D759-4F4F-8135-572855211847}" srcOrd="4" destOrd="0" presId="urn:microsoft.com/office/officeart/2016/7/layout/RoundedRectangleTimeline"/>
    <dgm:cxn modelId="{718BABD9-3B60-482F-B01A-2E414F152777}" type="presParOf" srcId="{196C9F68-3606-4282-A4C6-4485F1280B5F}" destId="{B0CD7A53-7149-45F2-83E8-36717D7878A1}" srcOrd="3" destOrd="0" presId="urn:microsoft.com/office/officeart/2016/7/layout/RoundedRectangleTimeline"/>
    <dgm:cxn modelId="{FD435764-A46B-4635-A943-B6C17FFBD43C}" type="presParOf" srcId="{196C9F68-3606-4282-A4C6-4485F1280B5F}" destId="{FB379A6E-C0F9-420B-90FC-2785E757E6AE}" srcOrd="4" destOrd="0" presId="urn:microsoft.com/office/officeart/2016/7/layout/RoundedRectangleTimeline"/>
    <dgm:cxn modelId="{03D7F2C3-849C-416B-B668-D51C46CA90E6}" type="presParOf" srcId="{FB379A6E-C0F9-420B-90FC-2785E757E6AE}" destId="{9D82041D-873A-4600-A9C7-C0A0ADFB138B}" srcOrd="0" destOrd="0" presId="urn:microsoft.com/office/officeart/2016/7/layout/RoundedRectangleTimeline"/>
    <dgm:cxn modelId="{1DA536D0-EC28-4B9F-A5E9-28EC8F45638C}" type="presParOf" srcId="{FB379A6E-C0F9-420B-90FC-2785E757E6AE}" destId="{80CDBBF8-C6B4-4166-87C1-DC9120CC7586}" srcOrd="1" destOrd="0" presId="urn:microsoft.com/office/officeart/2016/7/layout/RoundedRectangleTimeline"/>
    <dgm:cxn modelId="{A1A8842C-F8BC-40AC-8FFC-6A922D88E333}" type="presParOf" srcId="{FB379A6E-C0F9-420B-90FC-2785E757E6AE}" destId="{89759DE5-9F8A-470E-A6D8-F13BB4DEE93D}" srcOrd="2" destOrd="0" presId="urn:microsoft.com/office/officeart/2016/7/layout/RoundedRectangleTimeline"/>
    <dgm:cxn modelId="{29E74E09-91C9-47DF-AE07-A1527FF00EB2}" type="presParOf" srcId="{FB379A6E-C0F9-420B-90FC-2785E757E6AE}" destId="{07CCF286-8B46-4A20-ACAC-84BA2D6EFBBC}" srcOrd="3" destOrd="0" presId="urn:microsoft.com/office/officeart/2016/7/layout/RoundedRectangleTimeline"/>
    <dgm:cxn modelId="{410C15E7-86BA-42B7-8F67-411E34B11038}" type="presParOf" srcId="{FB379A6E-C0F9-420B-90FC-2785E757E6AE}" destId="{4624FC32-5405-42B1-B5CC-DF0659852A58}" srcOrd="4" destOrd="0" presId="urn:microsoft.com/office/officeart/2016/7/layout/RoundedRectangleTimeline"/>
    <dgm:cxn modelId="{E805D201-407E-43CA-9B74-1CB556699F3D}" type="presParOf" srcId="{196C9F68-3606-4282-A4C6-4485F1280B5F}" destId="{8C327064-3851-4ECF-AAB7-82B51711041E}" srcOrd="5" destOrd="0" presId="urn:microsoft.com/office/officeart/2016/7/layout/RoundedRectangleTimeline"/>
    <dgm:cxn modelId="{43BD8313-2385-4BA0-9145-2022434D3E68}" type="presParOf" srcId="{196C9F68-3606-4282-A4C6-4485F1280B5F}" destId="{3ADEA4DF-6814-494D-9D3D-41947417052B}" srcOrd="6" destOrd="0" presId="urn:microsoft.com/office/officeart/2016/7/layout/RoundedRectangleTimeline"/>
    <dgm:cxn modelId="{77EE5245-99F9-4607-BF5D-14371704AD7C}" type="presParOf" srcId="{3ADEA4DF-6814-494D-9D3D-41947417052B}" destId="{74CD3FF2-195B-429B-BC6F-5B5A7FED2BE2}" srcOrd="0" destOrd="0" presId="urn:microsoft.com/office/officeart/2016/7/layout/RoundedRectangleTimeline"/>
    <dgm:cxn modelId="{4182CE37-4E54-4351-9A5F-1904FF20E71C}" type="presParOf" srcId="{3ADEA4DF-6814-494D-9D3D-41947417052B}" destId="{1BB5FD64-47F9-47A3-911F-535BFE17A3B9}" srcOrd="1" destOrd="0" presId="urn:microsoft.com/office/officeart/2016/7/layout/RoundedRectangleTimeline"/>
    <dgm:cxn modelId="{618B960F-61F5-4357-A407-60CA51E36041}" type="presParOf" srcId="{3ADEA4DF-6814-494D-9D3D-41947417052B}" destId="{FE9B27EB-7AC7-485A-9A55-41E8118F9EAF}" srcOrd="2" destOrd="0" presId="urn:microsoft.com/office/officeart/2016/7/layout/RoundedRectangleTimeline"/>
    <dgm:cxn modelId="{181A4BE4-72AF-463E-880D-D34673D0F9E8}" type="presParOf" srcId="{3ADEA4DF-6814-494D-9D3D-41947417052B}" destId="{46BD4721-4664-4AD0-9F11-DBE7E0B207D5}" srcOrd="3" destOrd="0" presId="urn:microsoft.com/office/officeart/2016/7/layout/RoundedRectangleTimeline"/>
    <dgm:cxn modelId="{AC4EA57A-E4C0-4C2D-8EC9-38BC20FC13B6}" type="presParOf" srcId="{3ADEA4DF-6814-494D-9D3D-41947417052B}" destId="{69028BD0-349D-4B47-B1F4-B64C6478DE3C}" srcOrd="4" destOrd="0" presId="urn:microsoft.com/office/officeart/2016/7/layout/RoundedRectangleTimeline"/>
    <dgm:cxn modelId="{AA8AD3DD-2E80-42F5-B3E4-A5C7AF3802D4}" type="presParOf" srcId="{196C9F68-3606-4282-A4C6-4485F1280B5F}" destId="{619CFBB1-86F5-45A6-80BA-23F97450662F}" srcOrd="7" destOrd="0" presId="urn:microsoft.com/office/officeart/2016/7/layout/RoundedRectangleTimeline"/>
    <dgm:cxn modelId="{FDD0F37D-1C7B-48B3-AC81-ED4C6F1B5BBD}" type="presParOf" srcId="{196C9F68-3606-4282-A4C6-4485F1280B5F}" destId="{E4E0A96A-AF87-442A-A1A3-64B8F3CFC7FE}" srcOrd="8" destOrd="0" presId="urn:microsoft.com/office/officeart/2016/7/layout/RoundedRectangleTimeline"/>
    <dgm:cxn modelId="{CF303A04-9A48-4B41-A7BB-CC3D8C5695D3}" type="presParOf" srcId="{E4E0A96A-AF87-442A-A1A3-64B8F3CFC7FE}" destId="{483E7832-9872-48C4-8E65-DCB39D4CDBDF}" srcOrd="0" destOrd="0" presId="urn:microsoft.com/office/officeart/2016/7/layout/RoundedRectangleTimeline"/>
    <dgm:cxn modelId="{73245F8D-03D3-46C1-81E4-D90E66C49907}" type="presParOf" srcId="{E4E0A96A-AF87-442A-A1A3-64B8F3CFC7FE}" destId="{1FA3C236-5719-4A33-A6BB-80FA85F940E3}" srcOrd="1" destOrd="0" presId="urn:microsoft.com/office/officeart/2016/7/layout/RoundedRectangleTimeline"/>
    <dgm:cxn modelId="{412C5C97-3381-4F16-9B7D-FDFBEDD4E918}" type="presParOf" srcId="{E4E0A96A-AF87-442A-A1A3-64B8F3CFC7FE}" destId="{18F1C823-9ACD-4FCD-8102-F468DCE57A45}" srcOrd="2" destOrd="0" presId="urn:microsoft.com/office/officeart/2016/7/layout/RoundedRectangleTimeline"/>
    <dgm:cxn modelId="{23A8F6FC-DFDA-4E9F-A354-A33937E1BFC9}" type="presParOf" srcId="{E4E0A96A-AF87-442A-A1A3-64B8F3CFC7FE}" destId="{F8AD0AB8-BBDF-4F0A-A6A0-850E289DD521}" srcOrd="3" destOrd="0" presId="urn:microsoft.com/office/officeart/2016/7/layout/RoundedRectangleTimeline"/>
    <dgm:cxn modelId="{C02C06C2-0966-4212-84DD-DA325FCEF64C}" type="presParOf" srcId="{E4E0A96A-AF87-442A-A1A3-64B8F3CFC7FE}" destId="{11CAE2E7-2E06-450A-A729-9C2DCEF85421}" srcOrd="4" destOrd="0" presId="urn:microsoft.com/office/officeart/2016/7/layout/RoundedRectangleTimeline"/>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088D226-49D7-4C30-90DC-CA1755D98829}">
      <dsp:nvSpPr>
        <dsp:cNvPr id="0" name=""/>
        <dsp:cNvSpPr/>
      </dsp:nvSpPr>
      <dsp:spPr>
        <a:xfrm rot="16200000">
          <a:off x="1434223" y="1011950"/>
          <a:ext cx="397986" cy="1955960"/>
        </a:xfrm>
        <a:prstGeom prst="round2SameRect">
          <a:avLst/>
        </a:prstGeom>
        <a:solidFill>
          <a:schemeClr val="accent5">
            <a:hueOff val="0"/>
            <a:satOff val="0"/>
            <a:lumOff val="0"/>
            <a:alphaOff val="0"/>
          </a:schemeClr>
        </a:solidFill>
        <a:ln w="12700" cap="flat" cmpd="sng" algn="ctr">
          <a:solidFill>
            <a:schemeClr val="accent5">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7160" tIns="137160" rIns="137160" bIns="137160" numCol="1" spcCol="1270" anchor="ctr" anchorCtr="1">
          <a:noAutofit/>
        </a:bodyPr>
        <a:lstStyle/>
        <a:p>
          <a:pPr marL="0" lvl="0" indent="0" algn="ctr" defTabSz="800100">
            <a:lnSpc>
              <a:spcPct val="90000"/>
            </a:lnSpc>
            <a:spcBef>
              <a:spcPct val="0"/>
            </a:spcBef>
            <a:spcAft>
              <a:spcPct val="35000"/>
            </a:spcAft>
            <a:buNone/>
          </a:pPr>
          <a:r>
            <a:rPr lang="en-US" sz="1800" kern="1200" dirty="0">
              <a:latin typeface="+mn-lt"/>
            </a:rPr>
            <a:t>2017</a:t>
          </a:r>
        </a:p>
      </dsp:txBody>
      <dsp:txXfrm rot="5400000">
        <a:off x="674664" y="1810365"/>
        <a:ext cx="1936532" cy="359130"/>
      </dsp:txXfrm>
    </dsp:sp>
    <dsp:sp modelId="{45A02F84-C6CB-43F5-AEE4-3EA66C2BD25F}">
      <dsp:nvSpPr>
        <dsp:cNvPr id="0" name=""/>
        <dsp:cNvSpPr/>
      </dsp:nvSpPr>
      <dsp:spPr>
        <a:xfrm>
          <a:off x="3249" y="0"/>
          <a:ext cx="3259934" cy="139295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137160" numCol="1" spcCol="1270" anchor="b" anchorCtr="1">
          <a:noAutofit/>
        </a:bodyPr>
        <a:lstStyle/>
        <a:p>
          <a:pPr marL="0" lvl="0" indent="0" algn="l" defTabSz="800100">
            <a:lnSpc>
              <a:spcPct val="90000"/>
            </a:lnSpc>
            <a:spcBef>
              <a:spcPct val="0"/>
            </a:spcBef>
            <a:spcAft>
              <a:spcPct val="35000"/>
            </a:spcAft>
            <a:buFont typeface="Symbol" panose="05050102010706020507" pitchFamily="18" charset="2"/>
            <a:buNone/>
          </a:pPr>
          <a:r>
            <a:rPr lang="en-US" sz="1800" kern="1200" dirty="0"/>
            <a:t>Governor Ivey issued Executive Order 704, establishing ADECA as the agency to assume all powers, duties, responsibilities, authority, and obligations belonging to the Office of Broadband Development</a:t>
          </a:r>
          <a:endParaRPr lang="en-US" sz="1800" kern="1200" dirty="0">
            <a:latin typeface="+mn-lt"/>
          </a:endParaRPr>
        </a:p>
      </dsp:txBody>
      <dsp:txXfrm>
        <a:off x="3249" y="0"/>
        <a:ext cx="3259934" cy="1392951"/>
      </dsp:txXfrm>
    </dsp:sp>
    <dsp:sp modelId="{6BA46904-CB7C-4538-BD49-D3891EF19552}">
      <dsp:nvSpPr>
        <dsp:cNvPr id="0" name=""/>
        <dsp:cNvSpPr/>
      </dsp:nvSpPr>
      <dsp:spPr>
        <a:xfrm>
          <a:off x="1633216" y="1472548"/>
          <a:ext cx="0" cy="318388"/>
        </a:xfrm>
        <a:prstGeom prst="line">
          <a:avLst/>
        </a:prstGeom>
        <a:noFill/>
        <a:ln w="6350" cap="flat" cmpd="sng" algn="ctr">
          <a:solidFill>
            <a:schemeClr val="accent5">
              <a:hueOff val="0"/>
              <a:satOff val="0"/>
              <a:lumOff val="0"/>
              <a:alphaOff val="0"/>
            </a:schemeClr>
          </a:solidFill>
          <a:prstDash val="dash"/>
          <a:miter lim="800000"/>
        </a:ln>
        <a:effectLst/>
      </dsp:spPr>
      <dsp:style>
        <a:lnRef idx="1">
          <a:scrgbClr r="0" g="0" b="0"/>
        </a:lnRef>
        <a:fillRef idx="0">
          <a:scrgbClr r="0" g="0" b="0"/>
        </a:fillRef>
        <a:effectRef idx="0">
          <a:scrgbClr r="0" g="0" b="0"/>
        </a:effectRef>
        <a:fontRef idx="minor"/>
      </dsp:style>
    </dsp:sp>
    <dsp:sp modelId="{049FDBD0-77FE-49D1-A275-A272C8C5E426}">
      <dsp:nvSpPr>
        <dsp:cNvPr id="0" name=""/>
        <dsp:cNvSpPr/>
      </dsp:nvSpPr>
      <dsp:spPr>
        <a:xfrm>
          <a:off x="1593417" y="1392951"/>
          <a:ext cx="79597" cy="79597"/>
        </a:xfrm>
        <a:prstGeom prst="ellipse">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539615E2-3277-4D8E-8484-FF5088C8BF01}">
      <dsp:nvSpPr>
        <dsp:cNvPr id="0" name=""/>
        <dsp:cNvSpPr/>
      </dsp:nvSpPr>
      <dsp:spPr>
        <a:xfrm>
          <a:off x="2611196" y="1790937"/>
          <a:ext cx="1955960" cy="397986"/>
        </a:xfrm>
        <a:prstGeom prst="rect">
          <a:avLst/>
        </a:prstGeom>
        <a:solidFill>
          <a:schemeClr val="accent5">
            <a:hueOff val="90002"/>
            <a:satOff val="2173"/>
            <a:lumOff val="-10490"/>
            <a:alphaOff val="0"/>
          </a:schemeClr>
        </a:solidFill>
        <a:ln w="12700" cap="flat" cmpd="sng" algn="ctr">
          <a:solidFill>
            <a:schemeClr val="accent5">
              <a:hueOff val="90002"/>
              <a:satOff val="2173"/>
              <a:lumOff val="-1049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7160" tIns="137160" rIns="137160" bIns="137160" numCol="1" spcCol="1270" anchor="ctr" anchorCtr="1">
          <a:noAutofit/>
        </a:bodyPr>
        <a:lstStyle/>
        <a:p>
          <a:pPr marL="0" lvl="0" indent="0" algn="ctr" defTabSz="800100">
            <a:lnSpc>
              <a:spcPct val="90000"/>
            </a:lnSpc>
            <a:spcBef>
              <a:spcPct val="0"/>
            </a:spcBef>
            <a:spcAft>
              <a:spcPct val="35000"/>
            </a:spcAft>
            <a:buNone/>
          </a:pPr>
          <a:r>
            <a:rPr lang="en-US" sz="1800" kern="1200" dirty="0">
              <a:latin typeface="+mn-lt"/>
            </a:rPr>
            <a:t>2018</a:t>
          </a:r>
        </a:p>
      </dsp:txBody>
      <dsp:txXfrm>
        <a:off x="2611196" y="1790937"/>
        <a:ext cx="1955960" cy="397986"/>
      </dsp:txXfrm>
    </dsp:sp>
    <dsp:sp modelId="{FEBD3C2A-A340-470A-A475-AE614EA07678}">
      <dsp:nvSpPr>
        <dsp:cNvPr id="0" name=""/>
        <dsp:cNvSpPr/>
      </dsp:nvSpPr>
      <dsp:spPr>
        <a:xfrm>
          <a:off x="1959209" y="2586910"/>
          <a:ext cx="3259934" cy="139295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137160" rIns="0" bIns="0" numCol="1" spcCol="1270" anchor="t" anchorCtr="1">
          <a:noAutofit/>
        </a:bodyPr>
        <a:lstStyle/>
        <a:p>
          <a:pPr marL="0" lvl="0" indent="0" algn="l" defTabSz="800100">
            <a:lnSpc>
              <a:spcPct val="90000"/>
            </a:lnSpc>
            <a:spcBef>
              <a:spcPct val="0"/>
            </a:spcBef>
            <a:spcAft>
              <a:spcPct val="35000"/>
            </a:spcAft>
            <a:buFont typeface="Symbol" panose="05050102010706020507" pitchFamily="18" charset="2"/>
            <a:buNone/>
          </a:pPr>
          <a:r>
            <a:rPr lang="en-US" sz="1800" kern="1200" dirty="0"/>
            <a:t>Governor Kay Ivey signed the Alabama Broadband Accessibility Act establishing the Alabama Broadband Accessibility Fund (ABAF)</a:t>
          </a:r>
          <a:endParaRPr lang="en-US" sz="1800" kern="1200" dirty="0">
            <a:latin typeface="+mn-lt"/>
          </a:endParaRPr>
        </a:p>
      </dsp:txBody>
      <dsp:txXfrm>
        <a:off x="1959209" y="2586910"/>
        <a:ext cx="3259934" cy="1392951"/>
      </dsp:txXfrm>
    </dsp:sp>
    <dsp:sp modelId="{080474C8-0FEA-4FD1-97F1-0978CFB4A37F}">
      <dsp:nvSpPr>
        <dsp:cNvPr id="0" name=""/>
        <dsp:cNvSpPr/>
      </dsp:nvSpPr>
      <dsp:spPr>
        <a:xfrm>
          <a:off x="3589176" y="2188924"/>
          <a:ext cx="0" cy="318388"/>
        </a:xfrm>
        <a:prstGeom prst="line">
          <a:avLst/>
        </a:prstGeom>
        <a:noFill/>
        <a:ln w="6350" cap="flat" cmpd="sng" algn="ctr">
          <a:solidFill>
            <a:schemeClr val="accent5">
              <a:hueOff val="90002"/>
              <a:satOff val="2173"/>
              <a:lumOff val="-10490"/>
              <a:alphaOff val="0"/>
            </a:schemeClr>
          </a:solidFill>
          <a:prstDash val="dash"/>
          <a:miter lim="800000"/>
        </a:ln>
        <a:effectLst/>
      </dsp:spPr>
      <dsp:style>
        <a:lnRef idx="1">
          <a:scrgbClr r="0" g="0" b="0"/>
        </a:lnRef>
        <a:fillRef idx="0">
          <a:scrgbClr r="0" g="0" b="0"/>
        </a:fillRef>
        <a:effectRef idx="0">
          <a:scrgbClr r="0" g="0" b="0"/>
        </a:effectRef>
        <a:fontRef idx="minor"/>
      </dsp:style>
    </dsp:sp>
    <dsp:sp modelId="{4797FB61-2602-4A58-81E6-6F133DB1E419}">
      <dsp:nvSpPr>
        <dsp:cNvPr id="0" name=""/>
        <dsp:cNvSpPr/>
      </dsp:nvSpPr>
      <dsp:spPr>
        <a:xfrm>
          <a:off x="3549378" y="2507313"/>
          <a:ext cx="79597" cy="79597"/>
        </a:xfrm>
        <a:prstGeom prst="ellipse">
          <a:avLst/>
        </a:prstGeom>
        <a:solidFill>
          <a:schemeClr val="accent5">
            <a:hueOff val="90002"/>
            <a:satOff val="2173"/>
            <a:lumOff val="-1049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9D82041D-873A-4600-A9C7-C0A0ADFB138B}">
      <dsp:nvSpPr>
        <dsp:cNvPr id="0" name=""/>
        <dsp:cNvSpPr/>
      </dsp:nvSpPr>
      <dsp:spPr>
        <a:xfrm>
          <a:off x="4567157" y="1790937"/>
          <a:ext cx="1955960" cy="397986"/>
        </a:xfrm>
        <a:prstGeom prst="rect">
          <a:avLst/>
        </a:prstGeom>
        <a:solidFill>
          <a:schemeClr val="accent5">
            <a:hueOff val="180003"/>
            <a:satOff val="4346"/>
            <a:lumOff val="-20980"/>
            <a:alphaOff val="0"/>
          </a:schemeClr>
        </a:solidFill>
        <a:ln w="12700" cap="flat" cmpd="sng" algn="ctr">
          <a:solidFill>
            <a:schemeClr val="accent5">
              <a:hueOff val="180003"/>
              <a:satOff val="4346"/>
              <a:lumOff val="-2098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7160" tIns="137160" rIns="137160" bIns="137160" numCol="1" spcCol="1270" anchor="ctr" anchorCtr="1">
          <a:noAutofit/>
        </a:bodyPr>
        <a:lstStyle/>
        <a:p>
          <a:pPr marL="0" lvl="0" indent="0" algn="ctr" defTabSz="800100">
            <a:lnSpc>
              <a:spcPct val="90000"/>
            </a:lnSpc>
            <a:spcBef>
              <a:spcPct val="0"/>
            </a:spcBef>
            <a:spcAft>
              <a:spcPct val="35000"/>
            </a:spcAft>
            <a:buNone/>
          </a:pPr>
          <a:r>
            <a:rPr lang="en-US" sz="1800" kern="1200" dirty="0">
              <a:latin typeface="+mn-lt"/>
            </a:rPr>
            <a:t>2019</a:t>
          </a:r>
        </a:p>
      </dsp:txBody>
      <dsp:txXfrm>
        <a:off x="4567157" y="1790937"/>
        <a:ext cx="1955960" cy="397986"/>
      </dsp:txXfrm>
    </dsp:sp>
    <dsp:sp modelId="{80CDBBF8-C6B4-4166-87C1-DC9120CC7586}">
      <dsp:nvSpPr>
        <dsp:cNvPr id="0" name=""/>
        <dsp:cNvSpPr/>
      </dsp:nvSpPr>
      <dsp:spPr>
        <a:xfrm>
          <a:off x="3915170" y="0"/>
          <a:ext cx="3259934" cy="139295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137160" numCol="1" spcCol="1270" anchor="b" anchorCtr="1">
          <a:noAutofit/>
        </a:bodyPr>
        <a:lstStyle/>
        <a:p>
          <a:pPr marL="0" lvl="0" indent="0" algn="l" defTabSz="800100">
            <a:lnSpc>
              <a:spcPct val="90000"/>
            </a:lnSpc>
            <a:spcBef>
              <a:spcPct val="0"/>
            </a:spcBef>
            <a:spcAft>
              <a:spcPct val="35000"/>
            </a:spcAft>
            <a:buFont typeface="Symbol" panose="05050102010706020507" pitchFamily="18" charset="2"/>
            <a:buNone/>
          </a:pPr>
          <a:r>
            <a:rPr lang="en-US" sz="1800" kern="1200" dirty="0"/>
            <a:t>Governor Ivey signed Act #2019-327, amending the original Alabama Broadband Accessibility Act</a:t>
          </a:r>
          <a:endParaRPr lang="en-US" sz="1800" kern="1200" dirty="0">
            <a:latin typeface="+mn-lt"/>
          </a:endParaRPr>
        </a:p>
      </dsp:txBody>
      <dsp:txXfrm>
        <a:off x="3915170" y="0"/>
        <a:ext cx="3259934" cy="1392951"/>
      </dsp:txXfrm>
    </dsp:sp>
    <dsp:sp modelId="{89759DE5-9F8A-470E-A6D8-F13BB4DEE93D}">
      <dsp:nvSpPr>
        <dsp:cNvPr id="0" name=""/>
        <dsp:cNvSpPr/>
      </dsp:nvSpPr>
      <dsp:spPr>
        <a:xfrm>
          <a:off x="5545137" y="1472548"/>
          <a:ext cx="0" cy="318388"/>
        </a:xfrm>
        <a:prstGeom prst="line">
          <a:avLst/>
        </a:prstGeom>
        <a:noFill/>
        <a:ln w="6350" cap="flat" cmpd="sng" algn="ctr">
          <a:solidFill>
            <a:schemeClr val="accent5">
              <a:hueOff val="180003"/>
              <a:satOff val="4346"/>
              <a:lumOff val="-20980"/>
              <a:alphaOff val="0"/>
            </a:schemeClr>
          </a:solidFill>
          <a:prstDash val="dash"/>
          <a:miter lim="800000"/>
        </a:ln>
        <a:effectLst/>
      </dsp:spPr>
      <dsp:style>
        <a:lnRef idx="1">
          <a:scrgbClr r="0" g="0" b="0"/>
        </a:lnRef>
        <a:fillRef idx="0">
          <a:scrgbClr r="0" g="0" b="0"/>
        </a:fillRef>
        <a:effectRef idx="0">
          <a:scrgbClr r="0" g="0" b="0"/>
        </a:effectRef>
        <a:fontRef idx="minor"/>
      </dsp:style>
    </dsp:sp>
    <dsp:sp modelId="{07CCF286-8B46-4A20-ACAC-84BA2D6EFBBC}">
      <dsp:nvSpPr>
        <dsp:cNvPr id="0" name=""/>
        <dsp:cNvSpPr/>
      </dsp:nvSpPr>
      <dsp:spPr>
        <a:xfrm>
          <a:off x="5505338" y="1392951"/>
          <a:ext cx="79597" cy="79597"/>
        </a:xfrm>
        <a:prstGeom prst="ellipse">
          <a:avLst/>
        </a:prstGeom>
        <a:solidFill>
          <a:schemeClr val="accent5">
            <a:hueOff val="180003"/>
            <a:satOff val="4346"/>
            <a:lumOff val="-2098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74CD3FF2-195B-429B-BC6F-5B5A7FED2BE2}">
      <dsp:nvSpPr>
        <dsp:cNvPr id="0" name=""/>
        <dsp:cNvSpPr/>
      </dsp:nvSpPr>
      <dsp:spPr>
        <a:xfrm>
          <a:off x="6523117" y="1790937"/>
          <a:ext cx="1955960" cy="397986"/>
        </a:xfrm>
        <a:prstGeom prst="rect">
          <a:avLst/>
        </a:prstGeom>
        <a:solidFill>
          <a:schemeClr val="accent5">
            <a:hueOff val="270005"/>
            <a:satOff val="6519"/>
            <a:lumOff val="-31471"/>
            <a:alphaOff val="0"/>
          </a:schemeClr>
        </a:solidFill>
        <a:ln w="12700" cap="flat" cmpd="sng" algn="ctr">
          <a:solidFill>
            <a:schemeClr val="accent5">
              <a:hueOff val="270005"/>
              <a:satOff val="6519"/>
              <a:lumOff val="-31471"/>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7160" tIns="137160" rIns="137160" bIns="137160" numCol="1" spcCol="1270" anchor="ctr" anchorCtr="1">
          <a:noAutofit/>
        </a:bodyPr>
        <a:lstStyle/>
        <a:p>
          <a:pPr marL="0" lvl="0" indent="0" algn="ctr" defTabSz="800100">
            <a:lnSpc>
              <a:spcPct val="90000"/>
            </a:lnSpc>
            <a:spcBef>
              <a:spcPct val="0"/>
            </a:spcBef>
            <a:spcAft>
              <a:spcPct val="35000"/>
            </a:spcAft>
            <a:buFont typeface="Symbol" panose="05050102010706020507" pitchFamily="18" charset="2"/>
            <a:buNone/>
          </a:pPr>
          <a:r>
            <a:rPr lang="en-US" sz="1800" kern="1200" dirty="0">
              <a:latin typeface="+mn-lt"/>
            </a:rPr>
            <a:t>2021</a:t>
          </a:r>
        </a:p>
      </dsp:txBody>
      <dsp:txXfrm>
        <a:off x="6523117" y="1790937"/>
        <a:ext cx="1955960" cy="397986"/>
      </dsp:txXfrm>
    </dsp:sp>
    <dsp:sp modelId="{1BB5FD64-47F9-47A3-911F-535BFE17A3B9}">
      <dsp:nvSpPr>
        <dsp:cNvPr id="0" name=""/>
        <dsp:cNvSpPr/>
      </dsp:nvSpPr>
      <dsp:spPr>
        <a:xfrm>
          <a:off x="5871130" y="2586910"/>
          <a:ext cx="3259934" cy="139295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137160" rIns="0" bIns="0" numCol="1" spcCol="1270" anchor="t" anchorCtr="1">
          <a:noAutofit/>
        </a:bodyPr>
        <a:lstStyle/>
        <a:p>
          <a:pPr marL="0" lvl="0" indent="0" algn="l" defTabSz="800100">
            <a:lnSpc>
              <a:spcPct val="90000"/>
            </a:lnSpc>
            <a:spcBef>
              <a:spcPct val="0"/>
            </a:spcBef>
            <a:spcAft>
              <a:spcPct val="35000"/>
            </a:spcAft>
            <a:buFont typeface="Symbol" panose="05050102010706020507" pitchFamily="18" charset="2"/>
            <a:buNone/>
          </a:pPr>
          <a:r>
            <a:rPr lang="en-US" sz="1800" b="0" i="0" kern="1200" dirty="0"/>
            <a:t>Governor Kay Ivey signed the Connect Alabama Act that created the Alabama Digital Expansion Authority and the Alabama Digital Expansion Division of ADECA</a:t>
          </a:r>
          <a:endParaRPr lang="en-US" sz="1800" kern="1200" dirty="0">
            <a:latin typeface="+mn-lt"/>
          </a:endParaRPr>
        </a:p>
      </dsp:txBody>
      <dsp:txXfrm>
        <a:off x="5871130" y="2586910"/>
        <a:ext cx="3259934" cy="1392951"/>
      </dsp:txXfrm>
    </dsp:sp>
    <dsp:sp modelId="{FE9B27EB-7AC7-485A-9A55-41E8118F9EAF}">
      <dsp:nvSpPr>
        <dsp:cNvPr id="0" name=""/>
        <dsp:cNvSpPr/>
      </dsp:nvSpPr>
      <dsp:spPr>
        <a:xfrm>
          <a:off x="7501098" y="2188924"/>
          <a:ext cx="0" cy="318388"/>
        </a:xfrm>
        <a:prstGeom prst="line">
          <a:avLst/>
        </a:prstGeom>
        <a:noFill/>
        <a:ln w="6350" cap="flat" cmpd="sng" algn="ctr">
          <a:solidFill>
            <a:schemeClr val="accent5">
              <a:hueOff val="270005"/>
              <a:satOff val="6519"/>
              <a:lumOff val="-31471"/>
              <a:alphaOff val="0"/>
            </a:schemeClr>
          </a:solidFill>
          <a:prstDash val="dash"/>
          <a:miter lim="800000"/>
        </a:ln>
        <a:effectLst/>
      </dsp:spPr>
      <dsp:style>
        <a:lnRef idx="1">
          <a:scrgbClr r="0" g="0" b="0"/>
        </a:lnRef>
        <a:fillRef idx="0">
          <a:scrgbClr r="0" g="0" b="0"/>
        </a:fillRef>
        <a:effectRef idx="0">
          <a:scrgbClr r="0" g="0" b="0"/>
        </a:effectRef>
        <a:fontRef idx="minor"/>
      </dsp:style>
    </dsp:sp>
    <dsp:sp modelId="{46BD4721-4664-4AD0-9F11-DBE7E0B207D5}">
      <dsp:nvSpPr>
        <dsp:cNvPr id="0" name=""/>
        <dsp:cNvSpPr/>
      </dsp:nvSpPr>
      <dsp:spPr>
        <a:xfrm>
          <a:off x="7461299" y="2507313"/>
          <a:ext cx="79597" cy="79597"/>
        </a:xfrm>
        <a:prstGeom prst="ellipse">
          <a:avLst/>
        </a:prstGeom>
        <a:solidFill>
          <a:schemeClr val="accent5">
            <a:hueOff val="270005"/>
            <a:satOff val="6519"/>
            <a:lumOff val="-31471"/>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483E7832-9872-48C4-8E65-DCB39D4CDBDF}">
      <dsp:nvSpPr>
        <dsp:cNvPr id="0" name=""/>
        <dsp:cNvSpPr/>
      </dsp:nvSpPr>
      <dsp:spPr>
        <a:xfrm rot="5400000">
          <a:off x="9258065" y="1011950"/>
          <a:ext cx="397986" cy="1955960"/>
        </a:xfrm>
        <a:prstGeom prst="round2SameRect">
          <a:avLst/>
        </a:prstGeom>
        <a:solidFill>
          <a:schemeClr val="accent5">
            <a:hueOff val="360006"/>
            <a:satOff val="8692"/>
            <a:lumOff val="-41961"/>
            <a:alphaOff val="0"/>
          </a:schemeClr>
        </a:solidFill>
        <a:ln w="12700" cap="flat" cmpd="sng" algn="ctr">
          <a:solidFill>
            <a:schemeClr val="accent5">
              <a:hueOff val="360006"/>
              <a:satOff val="8692"/>
              <a:lumOff val="-41961"/>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7160" tIns="137160" rIns="137160" bIns="137160" numCol="1" spcCol="1270" anchor="ctr" anchorCtr="1">
          <a:noAutofit/>
        </a:bodyPr>
        <a:lstStyle/>
        <a:p>
          <a:pPr marL="0" lvl="0" indent="0" algn="ctr" defTabSz="800100">
            <a:lnSpc>
              <a:spcPct val="90000"/>
            </a:lnSpc>
            <a:spcBef>
              <a:spcPct val="0"/>
            </a:spcBef>
            <a:spcAft>
              <a:spcPct val="35000"/>
            </a:spcAft>
            <a:buFont typeface="Symbol" panose="05050102010706020507" pitchFamily="18" charset="2"/>
            <a:buNone/>
          </a:pPr>
          <a:r>
            <a:rPr lang="en-US" sz="1800" kern="1200" dirty="0">
              <a:latin typeface="+mn-lt"/>
            </a:rPr>
            <a:t>2022</a:t>
          </a:r>
        </a:p>
      </dsp:txBody>
      <dsp:txXfrm rot="-5400000">
        <a:off x="8479078" y="1810365"/>
        <a:ext cx="1936532" cy="359130"/>
      </dsp:txXfrm>
    </dsp:sp>
    <dsp:sp modelId="{1FA3C236-5719-4A33-A6BB-80FA85F940E3}">
      <dsp:nvSpPr>
        <dsp:cNvPr id="0" name=""/>
        <dsp:cNvSpPr/>
      </dsp:nvSpPr>
      <dsp:spPr>
        <a:xfrm>
          <a:off x="7827091" y="0"/>
          <a:ext cx="3259934" cy="139295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137160" numCol="1" spcCol="1270" anchor="b" anchorCtr="1">
          <a:noAutofit/>
        </a:bodyPr>
        <a:lstStyle/>
        <a:p>
          <a:pPr marL="0" lvl="0" indent="0" algn="l" defTabSz="800100">
            <a:lnSpc>
              <a:spcPct val="90000"/>
            </a:lnSpc>
            <a:spcBef>
              <a:spcPct val="0"/>
            </a:spcBef>
            <a:spcAft>
              <a:spcPct val="35000"/>
            </a:spcAft>
            <a:buFont typeface="Symbol" panose="05050102010706020507" pitchFamily="18" charset="2"/>
            <a:buNone/>
          </a:pPr>
          <a:r>
            <a:rPr lang="en-US" sz="1800" kern="1200" dirty="0"/>
            <a:t>Governor Ivey signed amendments to both the Alabama Broadband Accessibility Act and the Connect Alabama Act</a:t>
          </a:r>
          <a:endParaRPr lang="en-US" sz="1800" kern="1200" dirty="0">
            <a:latin typeface="+mn-lt"/>
          </a:endParaRPr>
        </a:p>
      </dsp:txBody>
      <dsp:txXfrm>
        <a:off x="7827091" y="0"/>
        <a:ext cx="3259934" cy="1392951"/>
      </dsp:txXfrm>
    </dsp:sp>
    <dsp:sp modelId="{18F1C823-9ACD-4FCD-8102-F468DCE57A45}">
      <dsp:nvSpPr>
        <dsp:cNvPr id="0" name=""/>
        <dsp:cNvSpPr/>
      </dsp:nvSpPr>
      <dsp:spPr>
        <a:xfrm>
          <a:off x="9457058" y="1472548"/>
          <a:ext cx="0" cy="318388"/>
        </a:xfrm>
        <a:prstGeom prst="line">
          <a:avLst/>
        </a:prstGeom>
        <a:noFill/>
        <a:ln w="6350" cap="flat" cmpd="sng" algn="ctr">
          <a:solidFill>
            <a:schemeClr val="accent5">
              <a:hueOff val="360006"/>
              <a:satOff val="8692"/>
              <a:lumOff val="-41961"/>
              <a:alphaOff val="0"/>
            </a:schemeClr>
          </a:solidFill>
          <a:prstDash val="dash"/>
          <a:miter lim="800000"/>
        </a:ln>
        <a:effectLst/>
      </dsp:spPr>
      <dsp:style>
        <a:lnRef idx="1">
          <a:scrgbClr r="0" g="0" b="0"/>
        </a:lnRef>
        <a:fillRef idx="0">
          <a:scrgbClr r="0" g="0" b="0"/>
        </a:fillRef>
        <a:effectRef idx="0">
          <a:scrgbClr r="0" g="0" b="0"/>
        </a:effectRef>
        <a:fontRef idx="minor"/>
      </dsp:style>
    </dsp:sp>
    <dsp:sp modelId="{F8AD0AB8-BBDF-4F0A-A6A0-850E289DD521}">
      <dsp:nvSpPr>
        <dsp:cNvPr id="0" name=""/>
        <dsp:cNvSpPr/>
      </dsp:nvSpPr>
      <dsp:spPr>
        <a:xfrm>
          <a:off x="9417260" y="1392951"/>
          <a:ext cx="79597" cy="79597"/>
        </a:xfrm>
        <a:prstGeom prst="ellipse">
          <a:avLst/>
        </a:prstGeom>
        <a:solidFill>
          <a:schemeClr val="accent5">
            <a:hueOff val="360006"/>
            <a:satOff val="8692"/>
            <a:lumOff val="-41961"/>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Tree>
</dsp:drawing>
</file>

<file path=ppt/diagrams/layout1.xml><?xml version="1.0" encoding="utf-8"?>
<dgm:layoutDef xmlns:dgm="http://schemas.openxmlformats.org/drawingml/2006/diagram" xmlns:a="http://schemas.openxmlformats.org/drawingml/2006/main" uniqueId="urn:microsoft.com/office/officeart/2016/7/layout/RoundedRectangleTimeline">
  <dgm:title val="Rounded Rectangle Timeline"/>
  <dgm:desc val="Use to show a list of events in chronological order. An invisible box contains the description while the date is shown in rectangles, except for the first and last node where the corners of the rectangle are rounded. It can display large amount of text and long descriptive date format."/>
  <dgm:catLst>
    <dgm:cat type="timeline" pri="500"/>
    <dgm:cat type="process" pri="600"/>
  </dgm:catLst>
  <dgm:samp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40" srcId="0" destId="10" srcOrd="0" destOrd="0"/>
        <dgm:cxn modelId="12" srcId="10" destId="11" srcOrd="0" destOrd="0"/>
        <dgm:cxn modelId="50" srcId="0" destId="20" srcOrd="1" destOrd="0"/>
        <dgm:cxn modelId="22" srcId="20" destId="21" srcOrd="0" destOrd="0"/>
        <dgm:cxn modelId="60" srcId="0" destId="30" srcOrd="1" destOrd="0"/>
        <dgm:cxn modelId="32" srcId="30" destId="31" srcOrd="0" destOrd="0"/>
      </dgm:cxnLst>
      <dgm:bg/>
      <dgm:whole/>
    </dgm:dataModel>
  </dgm:sampData>
  <dgm:styleData>
    <dgm:dataModel>
      <dgm:ptLst>
        <dgm:pt modelId="0" type="doc"/>
        <dgm:pt modelId="10">
          <dgm:prSet phldr="1"/>
        </dgm:pt>
        <dgm:pt modelId="20">
          <dgm:prSet phldr="1"/>
        </dgm:pt>
      </dgm:ptLst>
      <dgm:cxnLst>
        <dgm:cxn modelId="60" srcId="0" destId="10" srcOrd="0" destOrd="0"/>
        <dgm:cxn modelId="7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60" srcId="0" destId="10" srcOrd="0" destOrd="0"/>
        <dgm:cxn modelId="70" srcId="0" destId="20" srcOrd="1" destOrd="0"/>
        <dgm:cxn modelId="80" srcId="0" destId="30" srcOrd="2" destOrd="0"/>
        <dgm:cxn modelId="90" srcId="0" destId="40" srcOrd="3" destOrd="0"/>
      </dgm:cxnLst>
      <dgm:bg/>
      <dgm:whole/>
    </dgm:dataModel>
  </dgm:clrData>
  <dgm:layoutNode name="Name0">
    <dgm:varLst>
      <dgm:chMax/>
      <dgm:chPref/>
      <dgm:animLvl val="lvl"/>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constrLst>
      <dgm:constr type="primFontSz" for="des" forName="parent" val="18"/>
      <dgm:constr type="primFontSz" for="des" forName="Childtext" val="18"/>
      <dgm:constr type="primFontSz" for="des" forName="Childtext" refType="primFontSz" refFor="des" refForName="parent" op="lte"/>
      <dgm:constr type="w" for="ch" forName="composite" refType="w"/>
      <dgm:constr type="h" for="ch" forName="composite" refType="h"/>
      <dgm:constr type="w" for="ch" forName="spaceBetweenRectangles" refType="w" refFor="ch" refForName="composite" fact="-0.4"/>
      <dgm:constr type="w" for="ch" ptType="sibTrans" op="equ"/>
      <dgm:constr type="primFontSz" for="des" forName="parent" op="equ"/>
      <dgm:constr type="primFontSz" for="des" forName="Childtext" op="equ"/>
      <dgm:constr type="primFontSz" for="des" forName="parent1" val="18"/>
      <dgm:constr type="primFontSz" for="des" forName="Childtext1" val="18"/>
      <dgm:constr type="primFontSz" for="des" forName="Childtext1" refType="primFontSz" refFor="des" refForName="parent1" op="lte"/>
      <dgm:constr type="w" for="ch" forName="composite1" refType="w"/>
      <dgm:constr type="h" for="ch" forName="composite1" refType="h"/>
      <dgm:constr type="w" for="ch" forName="spaceBetweenRectangles1" refType="w" refFor="ch" refForName="composite1" fact="-0.4"/>
      <dgm:constr type="primFontSz" for="des" forName="parent1" op="equ"/>
      <dgm:constr type="primFontSz" for="des" forName="Childtext1" op="equ"/>
    </dgm:constrLst>
    <dgm:choose name="layoutByNodeCnt">
      <dgm:if name="twoOrLessNodes" axis="ch" ptType="node" func="cnt" op="lte" val="2">
        <dgm:forEach name="nodesForEach" axis="ch" ptType="node">
          <dgm:layoutNode name="composite">
            <dgm:alg type="composite"/>
            <dgm:shape xmlns:r="http://schemas.openxmlformats.org/officeDocument/2006/relationships" r:blip="">
              <dgm:adjLst/>
            </dgm:shape>
            <dgm:choose name="casesForFirstAndLastNode1">
              <dgm:if name="startNode1" axis="self" ptType="node" func="pos" op="equ" val="1">
                <dgm:choose name="removeLineWhenOnlyOneNode1">
                  <dgm:if name="ifOnlyOneNode1" axis="followSib" ptType="node" func="cnt" op="equ" val="0">
                    <dgm:constrLst>
                      <dgm:constr type="w" for="ch" forName="parent" refType="w" fact="0.95"/>
                      <dgm:constr type="l" for="ch" forName="parent" refType="w" fact="0.025"/>
                      <dgm:constr type="t" for="ch" forName="parent" refType="h" fact="0.45"/>
                      <dgm:constr type="h" for="ch" forName="parent" refType="h" fact="0.1"/>
                      <dgm:constr type="l" for="ch" forName="Childtext" refType="w" fact="0.025"/>
                      <dgm:constr type="w" for="ch" forName="Childtext" refType="w" fact="0.95"/>
                      <dgm:constr type="h" for="ch" forName="Childtext" refType="h" fact="0.35"/>
                      <dgm:constr type="w" for="ch" forName="ConnectLine"/>
                      <dgm:constr type="h" for="ch" forName="ConnectLine" refType="h" fact="0.08"/>
                      <dgm:constr type="t" for="ch" forName="ConnectLine" refType="h" fact="0.37"/>
                      <dgm:constr type="ctrX" for="ch" forName="ConnectLine" refType="w" fact="0.5"/>
                      <dgm:constr type="w" for="ch" forName="ConnectLineEnd" refType="h" fact="0.02"/>
                      <dgm:constr type="h" for="ch" forName="ConnectLineEnd" refType="h" fact="0.02"/>
                      <dgm:constr type="t" for="ch" forName="ConnectLineEnd" refType="h" fact="0.35"/>
                      <dgm:constr type="ctrX" for="ch" forName="ConnectLineEnd" refType="w" fact="0.5"/>
                      <dgm:constr type="w" for="ch" forName="EmptyPane" refType="w"/>
                      <dgm:constr type="t" for="ch" forName="EmptyPane" refType="h" fact="0.55"/>
                      <dgm:constr type="h" for="ch" forName="EmptyPane" refType="h" fact="0.45"/>
                    </dgm:constrLst>
                  </dgm:if>
                  <dgm:else name="ifMoreThanOneNode1">
                    <dgm:constrLst>
                      <dgm:constr type="w" for="ch" forName="parent" refType="w" fact="0.6"/>
                      <dgm:constr type="l" for="ch" forName="parent" refType="w" fact="0.2"/>
                      <dgm:constr type="t" for="ch" forName="parent" refType="h" fact="0.45"/>
                      <dgm:constr type="h" for="ch" forName="parent" refType="h" fact="0.1"/>
                      <dgm:constr type="l" for="ch" forName="Childtext" refType="w" fact="0.2"/>
                      <dgm:constr type="w" for="ch" forName="Childtext" refType="w" fact="0.6"/>
                      <dgm:constr type="h" for="ch" forName="Childtext" refType="h" fact="0.35"/>
                      <dgm:constr type="w" for="ch" forName="ConnectLine"/>
                      <dgm:constr type="h" for="ch" forName="ConnectLine" refType="h" fact="0.08"/>
                      <dgm:constr type="t" for="ch" forName="ConnectLine" refType="h" fact="0.37"/>
                      <dgm:constr type="ctrX" for="ch" forName="ConnectLine" refType="w" fact="0.5"/>
                      <dgm:constr type="w" for="ch" forName="ConnectLineEnd" refType="h" fact="0.02"/>
                      <dgm:constr type="h" for="ch" forName="ConnectLineEnd" refType="h" fact="0.02"/>
                      <dgm:constr type="t" for="ch" forName="ConnectLineEnd" refType="h" fact="0.35"/>
                      <dgm:constr type="ctrX" for="ch" forName="ConnectLineEnd" refType="w" fact="0.5"/>
                      <dgm:constr type="w" for="ch" forName="EmptyPane" refType="w"/>
                      <dgm:constr type="t" for="ch" forName="EmptyPane" refType="h" fact="0.55"/>
                      <dgm:constr type="h" for="ch" forName="EmptyPane" refType="h" fact="0.45"/>
                    </dgm:constrLst>
                  </dgm:else>
                </dgm:choose>
              </dgm:if>
              <dgm:else name="notStartNode1">
                <dgm:constrLst>
                  <dgm:constr type="w" for="ch" forName="parent" refType="w" fact="0.6"/>
                  <dgm:constr type="l" for="ch" forName="parent" refType="w" fact="0.2"/>
                  <dgm:constr type="t" for="ch" forName="parent" refType="h" fact="0.45"/>
                  <dgm:constr type="h" for="ch" forName="parent" refType="h" fact="0.1"/>
                  <dgm:constr type="l" for="ch" forName="Childtext" refType="w" fact="0.2"/>
                  <dgm:constr type="w" for="ch" forName="Childtext" refType="w" fact="0.6"/>
                  <dgm:constr type="h" for="ch" forName="Childtext" refType="h" fact="0.35"/>
                  <dgm:constr type="t" for="ch" forName="Childtext" refType="h" fact="0.65"/>
                  <dgm:constr type="w" for="ch" forName="ConnectLine"/>
                  <dgm:constr type="h" for="ch" forName="ConnectLine" refType="h" fact="0.08"/>
                  <dgm:constr type="t" for="ch" forName="ConnectLine" refType="h" fact="0.55"/>
                  <dgm:constr type="ctrX" for="ch" forName="ConnectLine" refType="w" fact="0.5"/>
                  <dgm:constr type="w" for="ch" forName="ConnectLineEnd" refType="h" fact="0.02"/>
                  <dgm:constr type="h" for="ch" forName="ConnectLineEnd" refType="h" fact="0.02"/>
                  <dgm:constr type="b" for="ch" forName="ConnectLineEnd" refType="h" fact="0.65"/>
                  <dgm:constr type="ctrX" for="ch" forName="ConnectLineEnd" refType="w" fact="0.5"/>
                  <dgm:constr type="w" for="ch" forName="EmptyPane" refType="w"/>
                  <dgm:constr type="h" for="ch" forName="EmptyPane" refType="h" fact="0.45"/>
                </dgm:constrLst>
              </dgm:else>
            </dgm:choose>
            <dgm:layoutNode name="parent" styleLbl="alignNode1">
              <dgm:varLst>
                <dgm:chMax val="1"/>
                <dgm:chPref val="1"/>
                <dgm:bulletEnabled val="1"/>
              </dgm:varLst>
              <dgm:alg type="tx">
                <dgm:param type="txAnchorHorz" val="ctr"/>
                <dgm:param type="txAnchorVert" val="mid"/>
                <dgm:param type="parTxLTRAlign" val="ctr"/>
                <dgm:param type="parTxRTLAlign" val="ctr"/>
              </dgm:alg>
              <dgm:choose name="casesForFirstAndLastNode">
                <dgm:if name="startNode" axis="self" ptType="node" func="pos" op="equ" val="1">
                  <dgm:choose name="removeLineWhenOnlyOneNode">
                    <dgm:if name="ifOnlyOneNode" axis="followSib" ptType="node" func="cnt" op="equ" val="0">
                      <dgm:shape xmlns:r="http://schemas.openxmlformats.org/officeDocument/2006/relationships" type="roundRect" r:blip="">
                        <dgm:adjLst/>
                      </dgm:shape>
                    </dgm:if>
                    <dgm:else name="ifMoreThanOneNode">
                      <dgm:choose name="Name18">
                        <dgm:if name="Name19" func="var" arg="dir" op="equ" val="norm">
                          <dgm:shape xmlns:r="http://schemas.openxmlformats.org/officeDocument/2006/relationships" rot="-90" type="round2SameRect" r:blip="">
                            <dgm:adjLst/>
                          </dgm:shape>
                        </dgm:if>
                        <dgm:else name="Name20">
                          <dgm:shape xmlns:r="http://schemas.openxmlformats.org/officeDocument/2006/relationships" rot="90" type="round2SameRect" r:blip="">
                            <dgm:adjLst/>
                          </dgm:shape>
                        </dgm:else>
                      </dgm:choose>
                    </dgm:else>
                  </dgm:choose>
                </dgm:if>
                <dgm:else name="notStartNode">
                  <dgm:choose name="Name22">
                    <dgm:if name="Name23" axis="self" ptType="node" func="revPos" op="equ" val="1">
                      <dgm:choose name="Name24">
                        <dgm:if name="Name25" func="var" arg="dir" op="equ" val="norm">
                          <dgm:shape xmlns:r="http://schemas.openxmlformats.org/officeDocument/2006/relationships" rot="90" type="round2SameRect" r:blip="">
                            <dgm:adjLst/>
                          </dgm:shape>
                        </dgm:if>
                        <dgm:else name="Name26">
                          <dgm:shape xmlns:r="http://schemas.openxmlformats.org/officeDocument/2006/relationships" rot="-90" type="round2SameRect" r:blip="">
                            <dgm:adjLst/>
                          </dgm:shape>
                        </dgm:else>
                      </dgm:choose>
                    </dgm:if>
                    <dgm:else name="Name27">
                      <dgm:shape xmlns:r="http://schemas.openxmlformats.org/officeDocument/2006/relationships" type="rect" r:blip="">
                        <dgm:adjLst/>
                      </dgm:shape>
                    </dgm:else>
                  </dgm:choose>
                </dgm:else>
              </dgm:choose>
              <dgm:presOf axis="self" ptType="node"/>
              <dgm:constrLst>
                <dgm:constr type="lMarg" refType="primFontSz" fact="0.6"/>
                <dgm:constr type="rMarg" refType="primFontSz" fact="0.6"/>
                <dgm:constr type="tMarg" refType="primFontSz" fact="0.6"/>
                <dgm:constr type="bMarg" refType="primFontSz" fact="0.6"/>
              </dgm:constrLst>
              <dgm:ruleLst>
                <dgm:rule type="primFontSz" val="11" fact="NaN" max="NaN"/>
              </dgm:ruleLst>
            </dgm:layoutNode>
            <dgm:layoutNode name="Childtext" styleLbl="revTx">
              <dgm:varLst>
                <dgm:bulletEnabled val="1"/>
              </dgm:varLst>
              <dgm:choose name="casesForTxtDirLogic">
                <dgm:if name="Name77" axis="self" ptType="node" func="posOdd" op="equ" val="1">
                  <dgm:alg type="tx">
                    <dgm:param type="txAnchorVert" val="b"/>
                    <dgm:param type="txAnchorHorz" val="ctr"/>
                    <dgm:param type="parTxLTRAlign" val="ctr"/>
                    <dgm:param type="parTxRTLAlign" val="ctr"/>
                  </dgm:alg>
                  <dgm:constrLst>
                    <dgm:constr type="lMarg"/>
                    <dgm:constr type="rMarg"/>
                    <dgm:constr type="tMarg"/>
                    <dgm:constr type="bMarg" refType="primFontSz" fact="0.6"/>
                  </dgm:constrLst>
                </dgm:if>
                <dgm:else name="Name88">
                  <dgm:alg type="tx">
                    <dgm:param type="txAnchorVert" val="t"/>
                    <dgm:param type="txAnchorHorz" val="ctr"/>
                    <dgm:param type="parTxLTRAlign" val="ctr"/>
                    <dgm:param type="parTxRTLAlign" val="ctr"/>
                  </dgm:alg>
                  <dgm:constrLst>
                    <dgm:constr type="lMarg"/>
                    <dgm:constr type="rMarg"/>
                    <dgm:constr type="tMarg" refType="primFontSz" fact="0.6"/>
                    <dgm:constr type="bMarg"/>
                  </dgm:constrLst>
                </dgm:else>
              </dgm:choose>
              <dgm:shape xmlns:r="http://schemas.openxmlformats.org/officeDocument/2006/relationships" type="rect" r:blip="">
                <dgm:adjLst/>
              </dgm:shape>
              <dgm:presOf axis="ch" ptType="node"/>
              <dgm:ruleLst>
                <dgm:rule type="primFontSz" val="11" fact="NaN" max="NaN"/>
              </dgm:ruleLst>
            </dgm:layoutNode>
            <dgm:layoutNode name="ConnectLine" styleLbl="sibTrans1D1">
              <dgm:alg type="sp"/>
              <dgm:shape xmlns:r="http://schemas.openxmlformats.org/officeDocument/2006/relationships" type="line" r:blip="">
                <dgm:adjLst/>
                <dgm:extLst>
                  <a:ext uri="{B698B0E9-8C71-41B9-8309-B3DCBF30829C}">
                    <dgm1612:spPr xmlns:dgm1612="http://schemas.microsoft.com/office/drawing/2016/12/diagram">
                      <a:ln>
                        <a:prstDash val="dash"/>
                      </a:ln>
                    </dgm1612:spPr>
                  </a:ext>
                </dgm:extLst>
              </dgm:shape>
              <dgm:presOf/>
              <dgm:constrLst/>
            </dgm:layoutNode>
            <dgm:layoutNode name="ConnectLineEnd" styleLbl="lnNode1">
              <dgm:alg type="sp"/>
              <dgm:shape xmlns:r="http://schemas.openxmlformats.org/officeDocument/2006/relationships" type="ellipse" r:blip="">
                <dgm:adjLst/>
              </dgm:shape>
              <dgm:presOf/>
              <dgm:constrLst/>
            </dgm:layoutNode>
            <dgm:layoutNode name="EmptyPane">
              <dgm:alg type="sp"/>
              <dgm:shape xmlns:r="http://schemas.openxmlformats.org/officeDocument/2006/relationships" r:blip="">
                <dgm:adjLst/>
              </dgm:shape>
              <dgm:presOf/>
              <dgm:constrLst/>
            </dgm:layoutNode>
          </dgm:layoutNode>
          <dgm:forEach name="Name28" axis="followSib" ptType="sibTrans" cnt="1">
            <dgm:layoutNode name="spaceBetweenRectangles">
              <dgm:alg type="sp"/>
              <dgm:shape xmlns:r="http://schemas.openxmlformats.org/officeDocument/2006/relationships" r:blip="">
                <dgm:adjLst/>
              </dgm:shape>
              <dgm:presOf/>
              <dgm:constrLst/>
              <dgm:ruleLst/>
            </dgm:layoutNode>
          </dgm:forEach>
        </dgm:forEach>
      </dgm:if>
      <dgm:else name="moreThanTwoNodes">
        <dgm:forEach name="nodesForEach1" axis="ch" ptType="node">
          <dgm:layoutNode name="composite1">
            <dgm:alg type="composite"/>
            <dgm:shape xmlns:r="http://schemas.openxmlformats.org/officeDocument/2006/relationships" r:blip="">
              <dgm:adjLst/>
            </dgm:shape>
            <dgm:choose name="casesForSnakingLogic21">
              <dgm:if name="oddNode21" axis="self" ptType="node" func="posOdd" op="equ" val="1">
                <dgm:constrLst>
                  <dgm:constr type="w" for="ch" forName="parent1" refType="w" fact="0.6"/>
                  <dgm:constr type="l" for="ch" forName="parent1" refType="w" fact="0.2"/>
                  <dgm:constr type="t" for="ch" forName="parent1" refType="h" fact="0.45"/>
                  <dgm:constr type="h" for="ch" forName="parent1" refType="h" fact="0.1"/>
                  <dgm:constr type="w" for="ch" forName="Childtext1" refType="w"/>
                  <dgm:constr type="h" for="ch" forName="Childtext1" refType="h" fact="0.35"/>
                  <dgm:constr type="w" for="ch" forName="ConnectLine1"/>
                  <dgm:constr type="h" for="ch" forName="ConnectLine1" refType="h" fact="0.08"/>
                  <dgm:constr type="t" for="ch" forName="ConnectLine1" refType="h" fact="0.37"/>
                  <dgm:constr type="ctrX" for="ch" forName="ConnectLine1" refType="w" fact="0.5"/>
                  <dgm:constr type="w" for="ch" forName="ConnectLineEnd1" refType="h" fact="0.02"/>
                  <dgm:constr type="h" for="ch" forName="ConnectLineEnd1" refType="h" fact="0.02"/>
                  <dgm:constr type="t" for="ch" forName="ConnectLineEnd1" refType="h" fact="0.35"/>
                  <dgm:constr type="ctrX" for="ch" forName="ConnectLineEnd1" refType="w" fact="0.5"/>
                  <dgm:constr type="w" for="ch" forName="EmptyPane1" refType="w"/>
                  <dgm:constr type="t" for="ch" forName="EmptyPane1" refType="h" fact="0.55"/>
                  <dgm:constr type="h" for="ch" forName="EmptyPane1" refType="h" fact="0.45"/>
                </dgm:constrLst>
              </dgm:if>
              <dgm:else name="evenNode2">
                <dgm:constrLst>
                  <dgm:constr type="w" for="ch" forName="parent1" refType="w" fact="0.6"/>
                  <dgm:constr type="l" for="ch" forName="parent1" refType="w" fact="0.2"/>
                  <dgm:constr type="t" for="ch" forName="parent1" refType="h" fact="0.45"/>
                  <dgm:constr type="h" for="ch" forName="parent1" refType="h" fact="0.1"/>
                  <dgm:constr type="w" for="ch" forName="Childtext1" refType="w"/>
                  <dgm:constr type="h" for="ch" forName="Childtext1" refType="h" fact="0.35"/>
                  <dgm:constr type="t" for="ch" forName="Childtext1" refType="h" fact="0.65"/>
                  <dgm:constr type="w" for="ch" forName="ConnectLine1"/>
                  <dgm:constr type="h" for="ch" forName="ConnectLine1" refType="h" fact="0.08"/>
                  <dgm:constr type="t" for="ch" forName="ConnectLine1" refType="h" fact="0.55"/>
                  <dgm:constr type="ctrX" for="ch" forName="ConnectLine1" refType="w" fact="0.5"/>
                  <dgm:constr type="w" for="ch" forName="ConnectLineEnd1" refType="h" fact="0.02"/>
                  <dgm:constr type="h" for="ch" forName="ConnectLineEnd1" refType="h" fact="0.02"/>
                  <dgm:constr type="b" for="ch" forName="ConnectLineEnd1" refType="h" fact="0.65"/>
                  <dgm:constr type="ctrX" for="ch" forName="ConnectLineEnd1" refType="w" fact="0.5"/>
                  <dgm:constr type="w" for="ch" forName="EmptyPane1" refType="w"/>
                  <dgm:constr type="h" for="ch" forName="EmptyPane1" refType="h" fact="0.45"/>
                </dgm:constrLst>
              </dgm:else>
            </dgm:choose>
            <dgm:layoutNode name="parent1" styleLbl="alignNode1">
              <dgm:varLst>
                <dgm:chMax val="1"/>
                <dgm:chPref val="1"/>
                <dgm:bulletEnabled val="1"/>
              </dgm:varLst>
              <dgm:alg type="tx">
                <dgm:param type="txAnchorHorz" val="ctr"/>
                <dgm:param type="txAnchorVert" val="mid"/>
                <dgm:param type="parTxLTRAlign" val="ctr"/>
                <dgm:param type="parTxRTLAlign" val="ctr"/>
              </dgm:alg>
              <dgm:choose name="casesForFirstAndLastNode12">
                <dgm:if name="startNode12" axis="self" ptType="node" func="pos" op="equ" val="1">
                  <dgm:choose name="removeLineWhenOnlyOneNode12">
                    <dgm:if name="ifOnlyOneNode12" axis="followSib" ptType="node" func="cnt" op="equ" val="0">
                      <dgm:shape xmlns:r="http://schemas.openxmlformats.org/officeDocument/2006/relationships" type="roundRect" r:blip="">
                        <dgm:adjLst/>
                      </dgm:shape>
                    </dgm:if>
                    <dgm:else name="ifMoreThanOneNode12">
                      <dgm:choose name="Name181">
                        <dgm:if name="Name191" func="var" arg="dir" op="equ" val="norm">
                          <dgm:shape xmlns:r="http://schemas.openxmlformats.org/officeDocument/2006/relationships" rot="-90" type="round2SameRect" r:blip="">
                            <dgm:adjLst/>
                          </dgm:shape>
                        </dgm:if>
                        <dgm:else name="Name201">
                          <dgm:shape xmlns:r="http://schemas.openxmlformats.org/officeDocument/2006/relationships" rot="90" type="round2SameRect" r:blip="">
                            <dgm:adjLst/>
                          </dgm:shape>
                        </dgm:else>
                      </dgm:choose>
                    </dgm:else>
                  </dgm:choose>
                </dgm:if>
                <dgm:else name="notStartNode12">
                  <dgm:choose name="Name221">
                    <dgm:if name="Name231" axis="self" ptType="node" func="revPos" op="equ" val="1">
                      <dgm:choose name="Name241">
                        <dgm:if name="Name251" func="var" arg="dir" op="equ" val="norm">
                          <dgm:shape xmlns:r="http://schemas.openxmlformats.org/officeDocument/2006/relationships" rot="90" type="round2SameRect" r:blip="">
                            <dgm:adjLst/>
                          </dgm:shape>
                        </dgm:if>
                        <dgm:else name="Name261">
                          <dgm:shape xmlns:r="http://schemas.openxmlformats.org/officeDocument/2006/relationships" rot="-90" type="round2SameRect" r:blip="">
                            <dgm:adjLst/>
                          </dgm:shape>
                        </dgm:else>
                      </dgm:choose>
                    </dgm:if>
                    <dgm:else name="Name271">
                      <dgm:shape xmlns:r="http://schemas.openxmlformats.org/officeDocument/2006/relationships" type="rect" r:blip="">
                        <dgm:adjLst/>
                      </dgm:shape>
                    </dgm:else>
                  </dgm:choose>
                </dgm:else>
              </dgm:choose>
              <dgm:presOf axis="self" ptType="node"/>
              <dgm:constrLst>
                <dgm:constr type="lMarg" refType="primFontSz" fact="0.6"/>
                <dgm:constr type="rMarg" refType="primFontSz" fact="0.6"/>
                <dgm:constr type="tMarg" refType="primFontSz" fact="0.6"/>
                <dgm:constr type="bMarg" refType="primFontSz" fact="0.6"/>
              </dgm:constrLst>
              <dgm:ruleLst>
                <dgm:rule type="primFontSz" val="11" fact="NaN" max="NaN"/>
              </dgm:ruleLst>
            </dgm:layoutNode>
            <dgm:layoutNode name="Childtext1" styleLbl="revTx">
              <dgm:varLst>
                <dgm:bulletEnabled val="1"/>
              </dgm:varLst>
              <dgm:choose name="casesForTxtDirLogic1">
                <dgm:if name="Name771" axis="self" ptType="node" func="posOdd" op="equ" val="1">
                  <dgm:alg type="tx">
                    <dgm:param type="txAnchorVert" val="b"/>
                    <dgm:param type="txAnchorHorz" val="ctr"/>
                    <dgm:param type="parTxLTRAlign" val="ctr"/>
                    <dgm:param type="parTxRTLAlign" val="ctr"/>
                  </dgm:alg>
                  <dgm:constrLst>
                    <dgm:constr type="lMarg"/>
                    <dgm:constr type="rMarg"/>
                    <dgm:constr type="tMarg"/>
                    <dgm:constr type="bMarg" refType="primFontSz" fact="0.6"/>
                  </dgm:constrLst>
                </dgm:if>
                <dgm:else name="Name881">
                  <dgm:alg type="tx">
                    <dgm:param type="txAnchorVert" val="t"/>
                    <dgm:param type="txAnchorHorz" val="ctr"/>
                    <dgm:param type="parTxLTRAlign" val="ctr"/>
                    <dgm:param type="parTxRTLAlign" val="ctr"/>
                  </dgm:alg>
                  <dgm:constrLst>
                    <dgm:constr type="lMarg"/>
                    <dgm:constr type="rMarg"/>
                    <dgm:constr type="tMarg" refType="primFontSz" fact="0.6"/>
                    <dgm:constr type="bMarg"/>
                  </dgm:constrLst>
                </dgm:else>
              </dgm:choose>
              <dgm:shape xmlns:r="http://schemas.openxmlformats.org/officeDocument/2006/relationships" type="rect" r:blip="">
                <dgm:adjLst/>
              </dgm:shape>
              <dgm:presOf axis="ch" ptType="node"/>
              <dgm:ruleLst>
                <dgm:rule type="primFontSz" val="11" fact="NaN" max="NaN"/>
              </dgm:ruleLst>
            </dgm:layoutNode>
            <dgm:layoutNode name="ConnectLine1" styleLbl="sibTrans1D1">
              <dgm:alg type="sp"/>
              <dgm:shape xmlns:r="http://schemas.openxmlformats.org/officeDocument/2006/relationships" type="line" r:blip="">
                <dgm:adjLst/>
                <dgm:extLst>
                  <a:ext uri="{B698B0E9-8C71-41B9-8309-B3DCBF30829C}">
                    <dgm1612:spPr xmlns:dgm1612="http://schemas.microsoft.com/office/drawing/2016/12/diagram">
                      <a:ln>
                        <a:prstDash val="dash"/>
                      </a:ln>
                    </dgm1612:spPr>
                  </a:ext>
                </dgm:extLst>
              </dgm:shape>
              <dgm:presOf/>
              <dgm:constrLst/>
            </dgm:layoutNode>
            <dgm:layoutNode name="ConnectLineEnd1" styleLbl="lnNode1">
              <dgm:alg type="sp"/>
              <dgm:shape xmlns:r="http://schemas.openxmlformats.org/officeDocument/2006/relationships" type="ellipse" r:blip="">
                <dgm:adjLst/>
              </dgm:shape>
              <dgm:presOf/>
              <dgm:constrLst/>
            </dgm:layoutNode>
            <dgm:layoutNode name="EmptyPane1">
              <dgm:alg type="sp"/>
              <dgm:shape xmlns:r="http://schemas.openxmlformats.org/officeDocument/2006/relationships" r:blip="">
                <dgm:adjLst/>
              </dgm:shape>
              <dgm:presOf/>
              <dgm:constrLst/>
            </dgm:layoutNode>
          </dgm:layoutNode>
          <dgm:forEach name="Name281" axis="followSib" ptType="sibTrans" cnt="1">
            <dgm:layoutNode name="spaceBetweenRectangles1">
              <dgm:alg type="sp"/>
              <dgm:shape xmlns:r="http://schemas.openxmlformats.org/officeDocument/2006/relationships" r:blip="">
                <dgm:adjLst/>
              </dgm:shape>
              <dgm:presOf/>
              <dgm:constrLst/>
              <dgm:ruleLst/>
            </dgm:layoutNode>
          </dgm:forEach>
        </dgm:forEach>
      </dgm:else>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D1471C2C-1567-47F4-803E-468024209D9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058F5B09-2954-46C6-97BB-9E10649FE2C3}"/>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C17F2C1D-F243-42AB-ADF2-E7CB4E04900E}" type="datetimeFigureOut">
              <a:rPr lang="en-US" smtClean="0"/>
              <a:t>1/9/2023</a:t>
            </a:fld>
            <a:endParaRPr lang="en-US"/>
          </a:p>
        </p:txBody>
      </p:sp>
      <p:sp>
        <p:nvSpPr>
          <p:cNvPr id="4" name="Footer Placeholder 3">
            <a:extLst>
              <a:ext uri="{FF2B5EF4-FFF2-40B4-BE49-F238E27FC236}">
                <a16:creationId xmlns:a16="http://schemas.microsoft.com/office/drawing/2014/main" id="{E39A204B-EBA9-4C6D-BFB2-A104F00C8E26}"/>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855F72FC-4D2D-4E5B-A4DD-62E2C822FB1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023CDBB5-5B4A-4483-935D-A73935186B4D}" type="slidenum">
              <a:rPr lang="en-US" smtClean="0"/>
              <a:t>‹#›</a:t>
            </a:fld>
            <a:endParaRPr lang="en-US"/>
          </a:p>
        </p:txBody>
      </p:sp>
    </p:spTree>
    <p:extLst>
      <p:ext uri="{BB962C8B-B14F-4D97-AF65-F5344CB8AC3E}">
        <p14:creationId xmlns:p14="http://schemas.microsoft.com/office/powerpoint/2010/main" val="261923779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20CE34E-5667-4A32-A6BA-10C7A552BC63}" type="datetimeFigureOut">
              <a:rPr lang="en-US" smtClean="0"/>
              <a:t>1/9/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7CCE34D-CFF1-4FFE-815B-D050E7ED2DFD}" type="slidenum">
              <a:rPr lang="en-US" smtClean="0"/>
              <a:t>‹#›</a:t>
            </a:fld>
            <a:endParaRPr lang="en-US"/>
          </a:p>
        </p:txBody>
      </p:sp>
    </p:spTree>
    <p:extLst>
      <p:ext uri="{BB962C8B-B14F-4D97-AF65-F5344CB8AC3E}">
        <p14:creationId xmlns:p14="http://schemas.microsoft.com/office/powerpoint/2010/main" val="397936288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1983A999-5E0E-42CA-8400-604AE921FF7C}" type="slidenum">
              <a:rPr lang="en-US" smtClean="0"/>
              <a:t>1</a:t>
            </a:fld>
            <a:endParaRPr lang="en-US"/>
          </a:p>
        </p:txBody>
      </p:sp>
    </p:spTree>
    <p:extLst>
      <p:ext uri="{BB962C8B-B14F-4D97-AF65-F5344CB8AC3E}">
        <p14:creationId xmlns:p14="http://schemas.microsoft.com/office/powerpoint/2010/main" val="156083596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2DC0559-D619-4E56-BF6F-3712370C2150}" type="slidenum">
              <a:rPr lang="en-US" smtClean="0"/>
              <a:t>3</a:t>
            </a:fld>
            <a:endParaRPr lang="en-US"/>
          </a:p>
        </p:txBody>
      </p:sp>
    </p:spTree>
    <p:extLst>
      <p:ext uri="{BB962C8B-B14F-4D97-AF65-F5344CB8AC3E}">
        <p14:creationId xmlns:p14="http://schemas.microsoft.com/office/powerpoint/2010/main" val="51454128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1983A999-5E0E-42CA-8400-604AE921FF7C}" type="slidenum">
              <a:rPr lang="en-US" smtClean="0"/>
              <a:t>6</a:t>
            </a:fld>
            <a:endParaRPr lang="en-US"/>
          </a:p>
        </p:txBody>
      </p:sp>
    </p:spTree>
    <p:extLst>
      <p:ext uri="{BB962C8B-B14F-4D97-AF65-F5344CB8AC3E}">
        <p14:creationId xmlns:p14="http://schemas.microsoft.com/office/powerpoint/2010/main" val="40430417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1983A999-5E0E-42CA-8400-604AE921FF7C}" type="slidenum">
              <a:rPr lang="en-US" smtClean="0"/>
              <a:t>8</a:t>
            </a:fld>
            <a:endParaRPr lang="en-US"/>
          </a:p>
        </p:txBody>
      </p:sp>
    </p:spTree>
    <p:extLst>
      <p:ext uri="{BB962C8B-B14F-4D97-AF65-F5344CB8AC3E}">
        <p14:creationId xmlns:p14="http://schemas.microsoft.com/office/powerpoint/2010/main" val="39633040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1983A999-5E0E-42CA-8400-604AE921FF7C}" type="slidenum">
              <a:rPr lang="en-US" smtClean="0"/>
              <a:t>10</a:t>
            </a:fld>
            <a:endParaRPr lang="en-US"/>
          </a:p>
        </p:txBody>
      </p:sp>
    </p:spTree>
    <p:extLst>
      <p:ext uri="{BB962C8B-B14F-4D97-AF65-F5344CB8AC3E}">
        <p14:creationId xmlns:p14="http://schemas.microsoft.com/office/powerpoint/2010/main" val="415089267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1983A999-5E0E-42CA-8400-604AE921FF7C}" type="slidenum">
              <a:rPr lang="en-US" smtClean="0"/>
              <a:t>11</a:t>
            </a:fld>
            <a:endParaRPr lang="en-US"/>
          </a:p>
        </p:txBody>
      </p:sp>
    </p:spTree>
    <p:extLst>
      <p:ext uri="{BB962C8B-B14F-4D97-AF65-F5344CB8AC3E}">
        <p14:creationId xmlns:p14="http://schemas.microsoft.com/office/powerpoint/2010/main" val="10697910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E1ADCA8-7BF0-4A44-A42B-CAE4A20735DC}" type="slidenum">
              <a:rPr lang="en-US" smtClean="0"/>
              <a:t>13</a:t>
            </a:fld>
            <a:endParaRPr lang="en-US"/>
          </a:p>
        </p:txBody>
      </p:sp>
    </p:spTree>
    <p:extLst>
      <p:ext uri="{BB962C8B-B14F-4D97-AF65-F5344CB8AC3E}">
        <p14:creationId xmlns:p14="http://schemas.microsoft.com/office/powerpoint/2010/main" val="209220400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Title">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9E68F591-F3C7-4872-BBA0-0693794F4F11}"/>
              </a:ext>
            </a:extLst>
          </p:cNvPr>
          <p:cNvSpPr>
            <a:spLocks noGrp="1"/>
          </p:cNvSpPr>
          <p:nvPr>
            <p:ph type="ctrTitle" hasCustomPrompt="1"/>
          </p:nvPr>
        </p:nvSpPr>
        <p:spPr>
          <a:xfrm>
            <a:off x="7999414" y="1051551"/>
            <a:ext cx="3565524" cy="2384898"/>
          </a:xfrm>
        </p:spPr>
        <p:txBody>
          <a:bodyPr anchor="b" anchorCtr="0">
            <a:noAutofit/>
          </a:bodyPr>
          <a:lstStyle/>
          <a:p>
            <a:r>
              <a:rPr lang="en-US" sz="4800" dirty="0"/>
              <a:t>3DFloat</a:t>
            </a:r>
          </a:p>
        </p:txBody>
      </p:sp>
      <p:sp>
        <p:nvSpPr>
          <p:cNvPr id="14" name="Picture Placeholder 13">
            <a:extLst>
              <a:ext uri="{FF2B5EF4-FFF2-40B4-BE49-F238E27FC236}">
                <a16:creationId xmlns:a16="http://schemas.microsoft.com/office/drawing/2014/main" id="{967766A8-18D5-4391-8DB7-7BFF6427636C}"/>
              </a:ext>
            </a:extLst>
          </p:cNvPr>
          <p:cNvSpPr>
            <a:spLocks noGrp="1"/>
          </p:cNvSpPr>
          <p:nvPr>
            <p:ph type="pic" sz="quarter" idx="13"/>
          </p:nvPr>
        </p:nvSpPr>
        <p:spPr>
          <a:xfrm>
            <a:off x="0" y="0"/>
            <a:ext cx="7452360" cy="6858000"/>
          </a:xfrm>
          <a:solidFill>
            <a:schemeClr val="accent5"/>
          </a:solidFill>
        </p:spPr>
        <p:txBody>
          <a:bodyPr>
            <a:noAutofit/>
          </a:bodyPr>
          <a:lstStyle/>
          <a:p>
            <a:r>
              <a:rPr lang="en-US"/>
              <a:t>Click icon to add picture</a:t>
            </a:r>
          </a:p>
        </p:txBody>
      </p:sp>
      <p:sp>
        <p:nvSpPr>
          <p:cNvPr id="8" name="Oval 7">
            <a:extLst>
              <a:ext uri="{FF2B5EF4-FFF2-40B4-BE49-F238E27FC236}">
                <a16:creationId xmlns:a16="http://schemas.microsoft.com/office/drawing/2014/main" id="{938AD48E-7D67-4BE9-97B6-DB64DE5253B9}"/>
              </a:ext>
              <a:ext uri="{C183D7F6-B498-43B3-948B-1728B52AA6E4}">
                <adec:decorative xmlns:adec="http://schemas.microsoft.com/office/drawing/2017/decorative" val="1"/>
              </a:ext>
            </a:extLst>
          </p:cNvPr>
          <p:cNvSpPr>
            <a:spLocks noChangeAspect="1"/>
          </p:cNvSpPr>
          <p:nvPr userDrawn="1"/>
        </p:nvSpPr>
        <p:spPr>
          <a:xfrm>
            <a:off x="7999413" y="445272"/>
            <a:ext cx="360000" cy="360000"/>
          </a:xfrm>
          <a:prstGeom prst="ellipse">
            <a:avLst/>
          </a:prstGeom>
          <a:gradFill flip="none" rotWithShape="1">
            <a:gsLst>
              <a:gs pos="100000">
                <a:schemeClr val="bg2">
                  <a:lumMod val="50000"/>
                  <a:lumOff val="50000"/>
                </a:schemeClr>
              </a:gs>
              <a:gs pos="60000">
                <a:schemeClr val="bg2"/>
              </a:gs>
            </a:gsLst>
            <a:path path="circle">
              <a:fillToRect l="100000" b="100000"/>
            </a:path>
            <a:tileRect t="-100000" r="-100000"/>
          </a:gradFill>
          <a:ln>
            <a:noFill/>
          </a:ln>
          <a:effectLst>
            <a:innerShdw blurRad="127000" dist="63500" dir="2700000">
              <a:schemeClr val="accent1">
                <a:lumMod val="60000"/>
                <a:lumOff val="40000"/>
                <a:alpha val="20000"/>
              </a:schemeClr>
            </a:innerShdw>
            <a:softEdge rad="0"/>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grpSp>
        <p:nvGrpSpPr>
          <p:cNvPr id="9" name="Group 8">
            <a:extLst>
              <a:ext uri="{FF2B5EF4-FFF2-40B4-BE49-F238E27FC236}">
                <a16:creationId xmlns:a16="http://schemas.microsoft.com/office/drawing/2014/main" id="{EB6FF8E2-165B-49EB-8120-14190F9491BC}"/>
              </a:ext>
              <a:ext uri="{C183D7F6-B498-43B3-948B-1728B52AA6E4}">
                <adec:decorative xmlns:adec="http://schemas.microsoft.com/office/drawing/2017/decorative" val="1"/>
              </a:ext>
            </a:extLst>
          </p:cNvPr>
          <p:cNvGrpSpPr/>
          <p:nvPr userDrawn="1"/>
        </p:nvGrpSpPr>
        <p:grpSpPr>
          <a:xfrm rot="5400000">
            <a:off x="10915300" y="5534727"/>
            <a:ext cx="667802" cy="631474"/>
            <a:chOff x="10478914" y="1506691"/>
            <a:chExt cx="667802" cy="631474"/>
          </a:xfrm>
        </p:grpSpPr>
        <p:sp>
          <p:nvSpPr>
            <p:cNvPr id="10" name="Freeform: Shape 9">
              <a:extLst>
                <a:ext uri="{FF2B5EF4-FFF2-40B4-BE49-F238E27FC236}">
                  <a16:creationId xmlns:a16="http://schemas.microsoft.com/office/drawing/2014/main" id="{79B763A7-EE7D-4306-8306-01E8C86E6350}"/>
                </a:ext>
              </a:extLst>
            </p:cNvPr>
            <p:cNvSpPr>
              <a:spLocks noChangeAspect="1"/>
            </p:cNvSpPr>
            <p:nvPr/>
          </p:nvSpPr>
          <p:spPr>
            <a:xfrm rot="8100000">
              <a:off x="10606715" y="1506691"/>
              <a:ext cx="540001" cy="631474"/>
            </a:xfrm>
            <a:custGeom>
              <a:avLst/>
              <a:gdLst>
                <a:gd name="connsiteX0" fmla="*/ 540000 w 1080000"/>
                <a:gd name="connsiteY0" fmla="*/ 0 h 1262947"/>
                <a:gd name="connsiteX1" fmla="*/ 1080000 w 1080000"/>
                <a:gd name="connsiteY1" fmla="*/ 931034 h 1262947"/>
                <a:gd name="connsiteX2" fmla="*/ 1064374 w 1080000"/>
                <a:gd name="connsiteY2" fmla="*/ 931034 h 1262947"/>
                <a:gd name="connsiteX3" fmla="*/ 1069029 w 1080000"/>
                <a:gd name="connsiteY3" fmla="*/ 938533 h 1262947"/>
                <a:gd name="connsiteX4" fmla="*/ 1080000 w 1080000"/>
                <a:gd name="connsiteY4" fmla="*/ 992947 h 1262947"/>
                <a:gd name="connsiteX5" fmla="*/ 540000 w 1080000"/>
                <a:gd name="connsiteY5" fmla="*/ 1262947 h 1262947"/>
                <a:gd name="connsiteX6" fmla="*/ 0 w 1080000"/>
                <a:gd name="connsiteY6" fmla="*/ 992947 h 1262947"/>
                <a:gd name="connsiteX7" fmla="*/ 10971 w 1080000"/>
                <a:gd name="connsiteY7" fmla="*/ 938533 h 1262947"/>
                <a:gd name="connsiteX8" fmla="*/ 15626 w 1080000"/>
                <a:gd name="connsiteY8" fmla="*/ 931034 h 1262947"/>
                <a:gd name="connsiteX9" fmla="*/ 0 w 1080000"/>
                <a:gd name="connsiteY9" fmla="*/ 931034 h 1262947"/>
                <a:gd name="connsiteX0" fmla="*/ 540000 w 1080000"/>
                <a:gd name="connsiteY0" fmla="*/ 0 h 1262947"/>
                <a:gd name="connsiteX1" fmla="*/ 1080000 w 1080000"/>
                <a:gd name="connsiteY1" fmla="*/ 931034 h 1262947"/>
                <a:gd name="connsiteX2" fmla="*/ 1064374 w 1080000"/>
                <a:gd name="connsiteY2" fmla="*/ 931034 h 1262947"/>
                <a:gd name="connsiteX3" fmla="*/ 1069029 w 1080000"/>
                <a:gd name="connsiteY3" fmla="*/ 938533 h 1262947"/>
                <a:gd name="connsiteX4" fmla="*/ 1080000 w 1080000"/>
                <a:gd name="connsiteY4" fmla="*/ 992947 h 1262947"/>
                <a:gd name="connsiteX5" fmla="*/ 540000 w 1080000"/>
                <a:gd name="connsiteY5" fmla="*/ 1262947 h 1262947"/>
                <a:gd name="connsiteX6" fmla="*/ 0 w 1080000"/>
                <a:gd name="connsiteY6" fmla="*/ 992947 h 1262947"/>
                <a:gd name="connsiteX7" fmla="*/ 10971 w 1080000"/>
                <a:gd name="connsiteY7" fmla="*/ 938533 h 1262947"/>
                <a:gd name="connsiteX8" fmla="*/ 15626 w 1080000"/>
                <a:gd name="connsiteY8" fmla="*/ 931034 h 1262947"/>
                <a:gd name="connsiteX9" fmla="*/ 540000 w 1080000"/>
                <a:gd name="connsiteY9" fmla="*/ 0 h 1262947"/>
                <a:gd name="connsiteX0" fmla="*/ 540000 w 1080000"/>
                <a:gd name="connsiteY0" fmla="*/ 0 h 1262947"/>
                <a:gd name="connsiteX1" fmla="*/ 1064374 w 1080000"/>
                <a:gd name="connsiteY1" fmla="*/ 931034 h 1262947"/>
                <a:gd name="connsiteX2" fmla="*/ 1069029 w 1080000"/>
                <a:gd name="connsiteY2" fmla="*/ 938533 h 1262947"/>
                <a:gd name="connsiteX3" fmla="*/ 1080000 w 1080000"/>
                <a:gd name="connsiteY3" fmla="*/ 992947 h 1262947"/>
                <a:gd name="connsiteX4" fmla="*/ 540000 w 1080000"/>
                <a:gd name="connsiteY4" fmla="*/ 1262947 h 1262947"/>
                <a:gd name="connsiteX5" fmla="*/ 0 w 1080000"/>
                <a:gd name="connsiteY5" fmla="*/ 992947 h 1262947"/>
                <a:gd name="connsiteX6" fmla="*/ 10971 w 1080000"/>
                <a:gd name="connsiteY6" fmla="*/ 938533 h 1262947"/>
                <a:gd name="connsiteX7" fmla="*/ 15626 w 1080000"/>
                <a:gd name="connsiteY7" fmla="*/ 931034 h 1262947"/>
                <a:gd name="connsiteX8" fmla="*/ 540000 w 1080000"/>
                <a:gd name="connsiteY8" fmla="*/ 0 h 12629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80000" h="1262947">
                  <a:moveTo>
                    <a:pt x="540000" y="0"/>
                  </a:moveTo>
                  <a:lnTo>
                    <a:pt x="1064374" y="931034"/>
                  </a:lnTo>
                  <a:lnTo>
                    <a:pt x="1069029" y="938533"/>
                  </a:lnTo>
                  <a:cubicBezTo>
                    <a:pt x="1076223" y="956109"/>
                    <a:pt x="1080000" y="974307"/>
                    <a:pt x="1080000" y="992947"/>
                  </a:cubicBezTo>
                  <a:cubicBezTo>
                    <a:pt x="1080000" y="1142064"/>
                    <a:pt x="838234" y="1262947"/>
                    <a:pt x="540000" y="1262947"/>
                  </a:cubicBezTo>
                  <a:cubicBezTo>
                    <a:pt x="241766" y="1262947"/>
                    <a:pt x="0" y="1142064"/>
                    <a:pt x="0" y="992947"/>
                  </a:cubicBezTo>
                  <a:cubicBezTo>
                    <a:pt x="0" y="974307"/>
                    <a:pt x="3778" y="956109"/>
                    <a:pt x="10971" y="938533"/>
                  </a:cubicBezTo>
                  <a:lnTo>
                    <a:pt x="15626" y="931034"/>
                  </a:lnTo>
                  <a:lnTo>
                    <a:pt x="540000" y="0"/>
                  </a:lnTo>
                  <a:close/>
                </a:path>
              </a:pathLst>
            </a:custGeom>
            <a:gradFill>
              <a:gsLst>
                <a:gs pos="60000">
                  <a:schemeClr val="bg2">
                    <a:lumMod val="90000"/>
                    <a:lumOff val="10000"/>
                  </a:schemeClr>
                </a:gs>
                <a:gs pos="30000">
                  <a:schemeClr val="bg2">
                    <a:lumMod val="90000"/>
                    <a:lumOff val="10000"/>
                  </a:schemeClr>
                </a:gs>
                <a:gs pos="40000">
                  <a:schemeClr val="bg2">
                    <a:lumMod val="80000"/>
                    <a:lumOff val="20000"/>
                  </a:schemeClr>
                </a:gs>
                <a:gs pos="100000">
                  <a:schemeClr val="bg2"/>
                </a:gs>
              </a:gsLst>
              <a:lin ang="600000" scaled="0"/>
            </a:gradFill>
            <a:ln>
              <a:noFill/>
            </a:ln>
            <a:effectLst>
              <a:innerShdw blurRad="101600" dist="50800" dir="7320000">
                <a:schemeClr val="accent1">
                  <a:lumMod val="60000"/>
                  <a:lumOff val="40000"/>
                  <a:alpha val="20000"/>
                </a:scheme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1" name="Oval 10">
              <a:extLst>
                <a:ext uri="{FF2B5EF4-FFF2-40B4-BE49-F238E27FC236}">
                  <a16:creationId xmlns:a16="http://schemas.microsoft.com/office/drawing/2014/main" id="{4B3A935F-6844-4FCE-B0AE-5492715A58F1}"/>
                </a:ext>
              </a:extLst>
            </p:cNvPr>
            <p:cNvSpPr/>
            <p:nvPr/>
          </p:nvSpPr>
          <p:spPr>
            <a:xfrm rot="13500000">
              <a:off x="10613915" y="1424627"/>
              <a:ext cx="270000" cy="540001"/>
            </a:xfrm>
            <a:prstGeom prst="ellipse">
              <a:avLst/>
            </a:prstGeom>
            <a:solidFill>
              <a:schemeClr val="bg2">
                <a:lumMod val="90000"/>
                <a:lumOff val="10000"/>
              </a:schemeClr>
            </a:solidFill>
            <a:ln>
              <a:noFill/>
            </a:ln>
            <a:effectLst>
              <a:innerShdw blurRad="1270000" dist="2540000">
                <a:schemeClr val="accent1">
                  <a:lumMod val="60000"/>
                  <a:lumOff val="40000"/>
                  <a:alpha val="0"/>
                </a:scheme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grpSp>
      <p:sp>
        <p:nvSpPr>
          <p:cNvPr id="3" name="Text Placeholder 2">
            <a:extLst>
              <a:ext uri="{FF2B5EF4-FFF2-40B4-BE49-F238E27FC236}">
                <a16:creationId xmlns:a16="http://schemas.microsoft.com/office/drawing/2014/main" id="{5B16EB97-6E8A-4B50-8701-7CB158044DCA}"/>
              </a:ext>
            </a:extLst>
          </p:cNvPr>
          <p:cNvSpPr>
            <a:spLocks noGrp="1"/>
          </p:cNvSpPr>
          <p:nvPr>
            <p:ph type="body" sz="quarter" idx="14"/>
          </p:nvPr>
        </p:nvSpPr>
        <p:spPr>
          <a:xfrm>
            <a:off x="7999413" y="3568700"/>
            <a:ext cx="3565524" cy="1731963"/>
          </a:xfrm>
        </p:spPr>
        <p:txBody>
          <a:bodyPr>
            <a:noAutofit/>
          </a:bodyPr>
          <a:lstStyle>
            <a:lvl1pPr>
              <a:buNone/>
              <a:defRPr sz="2000"/>
            </a:lvl1pPr>
            <a:lvl2pPr>
              <a:buNone/>
              <a:defRPr sz="2000"/>
            </a:lvl2pPr>
            <a:lvl3pPr>
              <a:buNone/>
              <a:defRPr sz="2000"/>
            </a:lvl3pPr>
            <a:lvl4pPr>
              <a:buNone/>
              <a:defRPr sz="2000"/>
            </a:lvl4pPr>
            <a:lvl5pPr>
              <a:buNone/>
              <a:defRPr sz="2000"/>
            </a:lvl5pPr>
          </a:lstStyle>
          <a:p>
            <a:pPr lvl="0"/>
            <a:r>
              <a:rPr lang="en-US"/>
              <a:t>Click to edit Master text styles</a:t>
            </a:r>
          </a:p>
        </p:txBody>
      </p:sp>
    </p:spTree>
    <p:extLst>
      <p:ext uri="{BB962C8B-B14F-4D97-AF65-F5344CB8AC3E}">
        <p14:creationId xmlns:p14="http://schemas.microsoft.com/office/powerpoint/2010/main" val="60094885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1_Content 3 column">
    <p:spTree>
      <p:nvGrpSpPr>
        <p:cNvPr id="1" name=""/>
        <p:cNvGrpSpPr/>
        <p:nvPr/>
      </p:nvGrpSpPr>
      <p:grpSpPr>
        <a:xfrm>
          <a:off x="0" y="0"/>
          <a:ext cx="0" cy="0"/>
          <a:chOff x="0" y="0"/>
          <a:chExt cx="0" cy="0"/>
        </a:xfrm>
      </p:grpSpPr>
      <p:grpSp>
        <p:nvGrpSpPr>
          <p:cNvPr id="34" name="Group 33">
            <a:extLst>
              <a:ext uri="{FF2B5EF4-FFF2-40B4-BE49-F238E27FC236}">
                <a16:creationId xmlns:a16="http://schemas.microsoft.com/office/drawing/2014/main" id="{79DE9FAB-6BBA-4CFE-B67D-77B47F01ECA4}"/>
              </a:ext>
              <a:ext uri="{C183D7F6-B498-43B3-948B-1728B52AA6E4}">
                <adec:decorative xmlns:adec="http://schemas.microsoft.com/office/drawing/2017/decorative" val="1"/>
              </a:ext>
            </a:extLst>
          </p:cNvPr>
          <p:cNvGrpSpPr/>
          <p:nvPr/>
        </p:nvGrpSpPr>
        <p:grpSpPr>
          <a:xfrm>
            <a:off x="137931" y="5260967"/>
            <a:ext cx="1980001" cy="1363916"/>
            <a:chOff x="4879602" y="3781429"/>
            <a:chExt cx="1980001" cy="1363916"/>
          </a:xfrm>
        </p:grpSpPr>
        <p:sp>
          <p:nvSpPr>
            <p:cNvPr id="35" name="Freeform: Shape 34">
              <a:extLst>
                <a:ext uri="{FF2B5EF4-FFF2-40B4-BE49-F238E27FC236}">
                  <a16:creationId xmlns:a16="http://schemas.microsoft.com/office/drawing/2014/main" id="{79FAC916-D9BB-4794-81B4-7C47C67E850D}"/>
                </a:ext>
              </a:extLst>
            </p:cNvPr>
            <p:cNvSpPr>
              <a:spLocks noChangeAspect="1"/>
            </p:cNvSpPr>
            <p:nvPr/>
          </p:nvSpPr>
          <p:spPr>
            <a:xfrm rot="18900000" flipV="1">
              <a:off x="5005634" y="4191206"/>
              <a:ext cx="1853969" cy="926985"/>
            </a:xfrm>
            <a:custGeom>
              <a:avLst/>
              <a:gdLst>
                <a:gd name="connsiteX0" fmla="*/ 1329373 w 2658746"/>
                <a:gd name="connsiteY0" fmla="*/ 0 h 1329373"/>
                <a:gd name="connsiteX1" fmla="*/ 2658746 w 2658746"/>
                <a:gd name="connsiteY1" fmla="*/ 1329373 h 1329373"/>
                <a:gd name="connsiteX2" fmla="*/ 1994059 w 2658746"/>
                <a:gd name="connsiteY2" fmla="*/ 1329373 h 1329373"/>
                <a:gd name="connsiteX3" fmla="*/ 1329373 w 2658746"/>
                <a:gd name="connsiteY3" fmla="*/ 664687 h 1329373"/>
                <a:gd name="connsiteX4" fmla="*/ 664687 w 2658746"/>
                <a:gd name="connsiteY4" fmla="*/ 1329373 h 1329373"/>
                <a:gd name="connsiteX5" fmla="*/ 0 w 2658746"/>
                <a:gd name="connsiteY5" fmla="*/ 1329373 h 1329373"/>
                <a:gd name="connsiteX6" fmla="*/ 1329373 w 2658746"/>
                <a:gd name="connsiteY6" fmla="*/ 0 h 1329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58746" h="1329373">
                  <a:moveTo>
                    <a:pt x="1329373" y="0"/>
                  </a:moveTo>
                  <a:cubicBezTo>
                    <a:pt x="2063565" y="0"/>
                    <a:pt x="2658746" y="595181"/>
                    <a:pt x="2658746" y="1329373"/>
                  </a:cubicBezTo>
                  <a:lnTo>
                    <a:pt x="1994059" y="1329373"/>
                  </a:lnTo>
                  <a:cubicBezTo>
                    <a:pt x="1994059" y="962277"/>
                    <a:pt x="1696469" y="664687"/>
                    <a:pt x="1329373" y="664687"/>
                  </a:cubicBezTo>
                  <a:cubicBezTo>
                    <a:pt x="962277" y="664687"/>
                    <a:pt x="664687" y="962277"/>
                    <a:pt x="664687" y="1329373"/>
                  </a:cubicBezTo>
                  <a:lnTo>
                    <a:pt x="0" y="1329373"/>
                  </a:lnTo>
                  <a:cubicBezTo>
                    <a:pt x="0" y="595181"/>
                    <a:pt x="595181" y="0"/>
                    <a:pt x="1329373" y="0"/>
                  </a:cubicBezTo>
                  <a:close/>
                </a:path>
              </a:pathLst>
            </a:custGeom>
            <a:solidFill>
              <a:schemeClr val="bg2"/>
            </a:solidFill>
            <a:ln>
              <a:noFill/>
            </a:ln>
            <a:effectLst>
              <a:innerShdw blurRad="254000" dist="50800" dir="16200000">
                <a:schemeClr val="accent1">
                  <a:lumMod val="40000"/>
                  <a:lumOff val="60000"/>
                  <a:alpha val="40000"/>
                </a:scheme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a:p>
          </p:txBody>
        </p:sp>
        <p:sp>
          <p:nvSpPr>
            <p:cNvPr id="36" name="Freeform: Shape 35">
              <a:extLst>
                <a:ext uri="{FF2B5EF4-FFF2-40B4-BE49-F238E27FC236}">
                  <a16:creationId xmlns:a16="http://schemas.microsoft.com/office/drawing/2014/main" id="{B5CA2231-7A65-4D16-8400-A210CC41DB73}"/>
                </a:ext>
              </a:extLst>
            </p:cNvPr>
            <p:cNvSpPr>
              <a:spLocks noChangeAspect="1"/>
            </p:cNvSpPr>
            <p:nvPr/>
          </p:nvSpPr>
          <p:spPr>
            <a:xfrm rot="18900000" flipV="1">
              <a:off x="4957101" y="4052255"/>
              <a:ext cx="1853969" cy="1093090"/>
            </a:xfrm>
            <a:custGeom>
              <a:avLst/>
              <a:gdLst>
                <a:gd name="connsiteX0" fmla="*/ 1329373 w 2658746"/>
                <a:gd name="connsiteY0" fmla="*/ 0 h 1329373"/>
                <a:gd name="connsiteX1" fmla="*/ 2658746 w 2658746"/>
                <a:gd name="connsiteY1" fmla="*/ 1329373 h 1329373"/>
                <a:gd name="connsiteX2" fmla="*/ 1994059 w 2658746"/>
                <a:gd name="connsiteY2" fmla="*/ 1329373 h 1329373"/>
                <a:gd name="connsiteX3" fmla="*/ 1329373 w 2658746"/>
                <a:gd name="connsiteY3" fmla="*/ 664687 h 1329373"/>
                <a:gd name="connsiteX4" fmla="*/ 664687 w 2658746"/>
                <a:gd name="connsiteY4" fmla="*/ 1329373 h 1329373"/>
                <a:gd name="connsiteX5" fmla="*/ 0 w 2658746"/>
                <a:gd name="connsiteY5" fmla="*/ 1329373 h 1329373"/>
                <a:gd name="connsiteX6" fmla="*/ 1329373 w 2658746"/>
                <a:gd name="connsiteY6" fmla="*/ 0 h 1329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58746" h="1329373">
                  <a:moveTo>
                    <a:pt x="1329373" y="0"/>
                  </a:moveTo>
                  <a:cubicBezTo>
                    <a:pt x="2063565" y="0"/>
                    <a:pt x="2658746" y="595181"/>
                    <a:pt x="2658746" y="1329373"/>
                  </a:cubicBezTo>
                  <a:lnTo>
                    <a:pt x="1994059" y="1329373"/>
                  </a:lnTo>
                  <a:cubicBezTo>
                    <a:pt x="1994059" y="962277"/>
                    <a:pt x="1696469" y="664687"/>
                    <a:pt x="1329373" y="664687"/>
                  </a:cubicBezTo>
                  <a:cubicBezTo>
                    <a:pt x="962277" y="664687"/>
                    <a:pt x="664687" y="962277"/>
                    <a:pt x="664687" y="1329373"/>
                  </a:cubicBezTo>
                  <a:lnTo>
                    <a:pt x="0" y="1329373"/>
                  </a:lnTo>
                  <a:cubicBezTo>
                    <a:pt x="0" y="595181"/>
                    <a:pt x="595181" y="0"/>
                    <a:pt x="1329373" y="0"/>
                  </a:cubicBezTo>
                  <a:close/>
                </a:path>
              </a:pathLst>
            </a:custGeom>
            <a:solidFill>
              <a:schemeClr val="bg2">
                <a:lumMod val="50000"/>
                <a:lumOff val="50000"/>
                <a:alpha val="40000"/>
              </a:schemeClr>
            </a:solidFill>
            <a:ln>
              <a:noFill/>
            </a:ln>
            <a:effectLst>
              <a:softEdge rad="190500"/>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a:solidFill>
                  <a:schemeClr val="tx1"/>
                </a:solidFill>
              </a:endParaRPr>
            </a:p>
          </p:txBody>
        </p:sp>
        <p:sp>
          <p:nvSpPr>
            <p:cNvPr id="37" name="Oval 36">
              <a:extLst>
                <a:ext uri="{FF2B5EF4-FFF2-40B4-BE49-F238E27FC236}">
                  <a16:creationId xmlns:a16="http://schemas.microsoft.com/office/drawing/2014/main" id="{4B089C8C-B82B-4704-88E2-E857A5E21529}"/>
                </a:ext>
              </a:extLst>
            </p:cNvPr>
            <p:cNvSpPr/>
            <p:nvPr/>
          </p:nvSpPr>
          <p:spPr>
            <a:xfrm rot="13500000" flipV="1">
              <a:off x="6040374" y="3601683"/>
              <a:ext cx="107098" cy="466589"/>
            </a:xfrm>
            <a:prstGeom prst="ellipse">
              <a:avLst/>
            </a:prstGeom>
            <a:solidFill>
              <a:schemeClr val="bg2">
                <a:lumMod val="90000"/>
                <a:lumOff val="10000"/>
              </a:schemeClr>
            </a:solidFill>
            <a:ln>
              <a:noFill/>
            </a:ln>
            <a:effectLst>
              <a:innerShdw blurRad="63500" dist="2540000">
                <a:schemeClr val="accent1">
                  <a:lumMod val="60000"/>
                  <a:lumOff val="40000"/>
                  <a:alpha val="0"/>
                </a:scheme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38" name="Oval 37">
              <a:extLst>
                <a:ext uri="{FF2B5EF4-FFF2-40B4-BE49-F238E27FC236}">
                  <a16:creationId xmlns:a16="http://schemas.microsoft.com/office/drawing/2014/main" id="{434B90C8-5B4D-456E-AD99-80EF748FDD72}"/>
                </a:ext>
              </a:extLst>
            </p:cNvPr>
            <p:cNvSpPr/>
            <p:nvPr/>
          </p:nvSpPr>
          <p:spPr>
            <a:xfrm rot="13500000" flipV="1">
              <a:off x="5059348" y="4582709"/>
              <a:ext cx="107098" cy="466589"/>
            </a:xfrm>
            <a:prstGeom prst="ellipse">
              <a:avLst/>
            </a:prstGeom>
            <a:solidFill>
              <a:schemeClr val="bg2">
                <a:lumMod val="90000"/>
                <a:lumOff val="10000"/>
              </a:schemeClr>
            </a:solidFill>
            <a:ln>
              <a:noFill/>
            </a:ln>
            <a:effectLst>
              <a:innerShdw blurRad="63500" dist="2540000">
                <a:schemeClr val="accent1">
                  <a:lumMod val="60000"/>
                  <a:lumOff val="40000"/>
                  <a:alpha val="0"/>
                </a:scheme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grpSp>
      <p:sp>
        <p:nvSpPr>
          <p:cNvPr id="19" name="Freeform: Shape 18">
            <a:extLst>
              <a:ext uri="{FF2B5EF4-FFF2-40B4-BE49-F238E27FC236}">
                <a16:creationId xmlns:a16="http://schemas.microsoft.com/office/drawing/2014/main" id="{82184FF4-7029-4ED7-813A-192E60608764}"/>
              </a:ext>
              <a:ext uri="{C183D7F6-B498-43B3-948B-1728B52AA6E4}">
                <adec:decorative xmlns:adec="http://schemas.microsoft.com/office/drawing/2017/decorative" val="1"/>
              </a:ext>
            </a:extLst>
          </p:cNvPr>
          <p:cNvSpPr>
            <a:spLocks noChangeAspect="1"/>
          </p:cNvSpPr>
          <p:nvPr/>
        </p:nvSpPr>
        <p:spPr>
          <a:xfrm rot="2700000">
            <a:off x="10834944" y="171268"/>
            <a:ext cx="1080000" cy="1262947"/>
          </a:xfrm>
          <a:custGeom>
            <a:avLst/>
            <a:gdLst>
              <a:gd name="connsiteX0" fmla="*/ 540000 w 1080000"/>
              <a:gd name="connsiteY0" fmla="*/ 0 h 1262947"/>
              <a:gd name="connsiteX1" fmla="*/ 1080000 w 1080000"/>
              <a:gd name="connsiteY1" fmla="*/ 931034 h 1262947"/>
              <a:gd name="connsiteX2" fmla="*/ 1064374 w 1080000"/>
              <a:gd name="connsiteY2" fmla="*/ 931034 h 1262947"/>
              <a:gd name="connsiteX3" fmla="*/ 1069029 w 1080000"/>
              <a:gd name="connsiteY3" fmla="*/ 938533 h 1262947"/>
              <a:gd name="connsiteX4" fmla="*/ 1080000 w 1080000"/>
              <a:gd name="connsiteY4" fmla="*/ 992947 h 1262947"/>
              <a:gd name="connsiteX5" fmla="*/ 540000 w 1080000"/>
              <a:gd name="connsiteY5" fmla="*/ 1262947 h 1262947"/>
              <a:gd name="connsiteX6" fmla="*/ 0 w 1080000"/>
              <a:gd name="connsiteY6" fmla="*/ 992947 h 1262947"/>
              <a:gd name="connsiteX7" fmla="*/ 10971 w 1080000"/>
              <a:gd name="connsiteY7" fmla="*/ 938533 h 1262947"/>
              <a:gd name="connsiteX8" fmla="*/ 15626 w 1080000"/>
              <a:gd name="connsiteY8" fmla="*/ 931034 h 1262947"/>
              <a:gd name="connsiteX9" fmla="*/ 0 w 1080000"/>
              <a:gd name="connsiteY9" fmla="*/ 931034 h 1262947"/>
              <a:gd name="connsiteX0" fmla="*/ 540000 w 1080000"/>
              <a:gd name="connsiteY0" fmla="*/ 0 h 1262947"/>
              <a:gd name="connsiteX1" fmla="*/ 1080000 w 1080000"/>
              <a:gd name="connsiteY1" fmla="*/ 931034 h 1262947"/>
              <a:gd name="connsiteX2" fmla="*/ 1064374 w 1080000"/>
              <a:gd name="connsiteY2" fmla="*/ 931034 h 1262947"/>
              <a:gd name="connsiteX3" fmla="*/ 1069029 w 1080000"/>
              <a:gd name="connsiteY3" fmla="*/ 938533 h 1262947"/>
              <a:gd name="connsiteX4" fmla="*/ 1080000 w 1080000"/>
              <a:gd name="connsiteY4" fmla="*/ 992947 h 1262947"/>
              <a:gd name="connsiteX5" fmla="*/ 540000 w 1080000"/>
              <a:gd name="connsiteY5" fmla="*/ 1262947 h 1262947"/>
              <a:gd name="connsiteX6" fmla="*/ 0 w 1080000"/>
              <a:gd name="connsiteY6" fmla="*/ 992947 h 1262947"/>
              <a:gd name="connsiteX7" fmla="*/ 10971 w 1080000"/>
              <a:gd name="connsiteY7" fmla="*/ 938533 h 1262947"/>
              <a:gd name="connsiteX8" fmla="*/ 15626 w 1080000"/>
              <a:gd name="connsiteY8" fmla="*/ 931034 h 1262947"/>
              <a:gd name="connsiteX9" fmla="*/ 540000 w 1080000"/>
              <a:gd name="connsiteY9" fmla="*/ 0 h 1262947"/>
              <a:gd name="connsiteX0" fmla="*/ 540000 w 1080000"/>
              <a:gd name="connsiteY0" fmla="*/ 0 h 1262947"/>
              <a:gd name="connsiteX1" fmla="*/ 1064374 w 1080000"/>
              <a:gd name="connsiteY1" fmla="*/ 931034 h 1262947"/>
              <a:gd name="connsiteX2" fmla="*/ 1069029 w 1080000"/>
              <a:gd name="connsiteY2" fmla="*/ 938533 h 1262947"/>
              <a:gd name="connsiteX3" fmla="*/ 1080000 w 1080000"/>
              <a:gd name="connsiteY3" fmla="*/ 992947 h 1262947"/>
              <a:gd name="connsiteX4" fmla="*/ 540000 w 1080000"/>
              <a:gd name="connsiteY4" fmla="*/ 1262947 h 1262947"/>
              <a:gd name="connsiteX5" fmla="*/ 0 w 1080000"/>
              <a:gd name="connsiteY5" fmla="*/ 992947 h 1262947"/>
              <a:gd name="connsiteX6" fmla="*/ 10971 w 1080000"/>
              <a:gd name="connsiteY6" fmla="*/ 938533 h 1262947"/>
              <a:gd name="connsiteX7" fmla="*/ 15626 w 1080000"/>
              <a:gd name="connsiteY7" fmla="*/ 931034 h 1262947"/>
              <a:gd name="connsiteX8" fmla="*/ 540000 w 1080000"/>
              <a:gd name="connsiteY8" fmla="*/ 0 h 12629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80000" h="1262947">
                <a:moveTo>
                  <a:pt x="540000" y="0"/>
                </a:moveTo>
                <a:lnTo>
                  <a:pt x="1064374" y="931034"/>
                </a:lnTo>
                <a:lnTo>
                  <a:pt x="1069029" y="938533"/>
                </a:lnTo>
                <a:cubicBezTo>
                  <a:pt x="1076223" y="956109"/>
                  <a:pt x="1080000" y="974307"/>
                  <a:pt x="1080000" y="992947"/>
                </a:cubicBezTo>
                <a:cubicBezTo>
                  <a:pt x="1080000" y="1142064"/>
                  <a:pt x="838234" y="1262947"/>
                  <a:pt x="540000" y="1262947"/>
                </a:cubicBezTo>
                <a:cubicBezTo>
                  <a:pt x="241766" y="1262947"/>
                  <a:pt x="0" y="1142064"/>
                  <a:pt x="0" y="992947"/>
                </a:cubicBezTo>
                <a:cubicBezTo>
                  <a:pt x="0" y="974307"/>
                  <a:pt x="3778" y="956109"/>
                  <a:pt x="10971" y="938533"/>
                </a:cubicBezTo>
                <a:lnTo>
                  <a:pt x="15626" y="931034"/>
                </a:lnTo>
                <a:lnTo>
                  <a:pt x="540000" y="0"/>
                </a:lnTo>
                <a:close/>
              </a:path>
            </a:pathLst>
          </a:custGeom>
          <a:gradFill>
            <a:gsLst>
              <a:gs pos="60000">
                <a:schemeClr val="bg2">
                  <a:lumMod val="90000"/>
                  <a:lumOff val="10000"/>
                </a:schemeClr>
              </a:gs>
              <a:gs pos="30000">
                <a:schemeClr val="bg2">
                  <a:lumMod val="90000"/>
                  <a:lumOff val="10000"/>
                </a:schemeClr>
              </a:gs>
              <a:gs pos="40000">
                <a:schemeClr val="bg2">
                  <a:lumMod val="75000"/>
                  <a:lumOff val="25000"/>
                </a:schemeClr>
              </a:gs>
              <a:gs pos="100000">
                <a:schemeClr val="bg2"/>
              </a:gs>
            </a:gsLst>
            <a:lin ang="600000" scaled="0"/>
          </a:gradFill>
          <a:ln>
            <a:noFill/>
          </a:ln>
          <a:effectLst>
            <a:innerShdw blurRad="254000" dist="101600" dir="2700000">
              <a:schemeClr val="accent1">
                <a:lumMod val="60000"/>
                <a:lumOff val="40000"/>
                <a:alpha val="40000"/>
              </a:scheme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20" name="Oval 19">
            <a:extLst>
              <a:ext uri="{FF2B5EF4-FFF2-40B4-BE49-F238E27FC236}">
                <a16:creationId xmlns:a16="http://schemas.microsoft.com/office/drawing/2014/main" id="{AAA7AB09-557C-41AD-9113-FF9F68FA1035}"/>
              </a:ext>
              <a:ext uri="{C183D7F6-B498-43B3-948B-1728B52AA6E4}">
                <adec:decorative xmlns:adec="http://schemas.microsoft.com/office/drawing/2017/decorative" val="1"/>
              </a:ext>
            </a:extLst>
          </p:cNvPr>
          <p:cNvSpPr/>
          <p:nvPr/>
        </p:nvSpPr>
        <p:spPr>
          <a:xfrm rot="8100000">
            <a:off x="10849344" y="518342"/>
            <a:ext cx="540000" cy="1080000"/>
          </a:xfrm>
          <a:prstGeom prst="ellipse">
            <a:avLst/>
          </a:prstGeom>
          <a:gradFill>
            <a:gsLst>
              <a:gs pos="100000">
                <a:schemeClr val="bg2">
                  <a:lumMod val="90000"/>
                  <a:lumOff val="10000"/>
                </a:schemeClr>
              </a:gs>
              <a:gs pos="50000">
                <a:schemeClr val="bg2">
                  <a:lumMod val="95000"/>
                  <a:lumOff val="5000"/>
                </a:schemeClr>
              </a:gs>
            </a:gsLst>
            <a:lin ang="5400000" scaled="0"/>
          </a:gradFill>
          <a:ln>
            <a:noFill/>
          </a:ln>
          <a:effectLst>
            <a:innerShdw blurRad="1270000" dist="2540000">
              <a:schemeClr val="accent1">
                <a:lumMod val="60000"/>
                <a:lumOff val="40000"/>
                <a:alpha val="0"/>
              </a:scheme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25" name="Oval 24">
            <a:extLst>
              <a:ext uri="{FF2B5EF4-FFF2-40B4-BE49-F238E27FC236}">
                <a16:creationId xmlns:a16="http://schemas.microsoft.com/office/drawing/2014/main" id="{EF99ECAA-1F11-4937-BBA6-51935AB44C9D}"/>
              </a:ext>
              <a:ext uri="{C183D7F6-B498-43B3-948B-1728B52AA6E4}">
                <adec:decorative xmlns:adec="http://schemas.microsoft.com/office/drawing/2017/decorative" val="1"/>
              </a:ext>
            </a:extLst>
          </p:cNvPr>
          <p:cNvSpPr>
            <a:spLocks noChangeAspect="1"/>
          </p:cNvSpPr>
          <p:nvPr/>
        </p:nvSpPr>
        <p:spPr>
          <a:xfrm>
            <a:off x="1800802" y="2472855"/>
            <a:ext cx="360000" cy="360000"/>
          </a:xfrm>
          <a:prstGeom prst="ellipse">
            <a:avLst/>
          </a:prstGeom>
          <a:gradFill flip="none" rotWithShape="1">
            <a:gsLst>
              <a:gs pos="100000">
                <a:schemeClr val="bg2">
                  <a:lumMod val="50000"/>
                  <a:lumOff val="50000"/>
                </a:schemeClr>
              </a:gs>
              <a:gs pos="60000">
                <a:schemeClr val="bg2"/>
              </a:gs>
            </a:gsLst>
            <a:path path="circle">
              <a:fillToRect l="100000" b="100000"/>
            </a:path>
            <a:tileRect t="-100000" r="-100000"/>
          </a:gradFill>
          <a:ln>
            <a:noFill/>
          </a:ln>
          <a:effectLst>
            <a:innerShdw blurRad="127000" dist="63500" dir="2700000">
              <a:schemeClr val="accent1">
                <a:lumMod val="60000"/>
                <a:lumOff val="40000"/>
                <a:alpha val="20000"/>
              </a:schemeClr>
            </a:innerShdw>
            <a:softEdge rad="0"/>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5" name="Title 1">
            <a:extLst>
              <a:ext uri="{FF2B5EF4-FFF2-40B4-BE49-F238E27FC236}">
                <a16:creationId xmlns:a16="http://schemas.microsoft.com/office/drawing/2014/main" id="{EBCCE83C-72C8-4181-8D03-7CFB23A6FF2D}"/>
              </a:ext>
            </a:extLst>
          </p:cNvPr>
          <p:cNvSpPr>
            <a:spLocks noGrp="1"/>
          </p:cNvSpPr>
          <p:nvPr>
            <p:ph type="title"/>
          </p:nvPr>
        </p:nvSpPr>
        <p:spPr>
          <a:xfrm>
            <a:off x="550862" y="549275"/>
            <a:ext cx="11097551" cy="1332000"/>
          </a:xfrm>
        </p:spPr>
        <p:txBody>
          <a:bodyPr vert="horz" wrap="square" lIns="0" tIns="0" rIns="0" bIns="0" rtlCol="0" anchor="t" anchorCtr="0">
            <a:noAutofit/>
          </a:bodyPr>
          <a:lstStyle>
            <a:lvl1pPr>
              <a:defRPr lang="en-US" sz="4800" dirty="0"/>
            </a:lvl1pPr>
          </a:lstStyle>
          <a:p>
            <a:pPr lvl="0">
              <a:lnSpc>
                <a:spcPct val="100000"/>
              </a:lnSpc>
            </a:pPr>
            <a:r>
              <a:rPr lang="en-US"/>
              <a:t>Click to edit Master title style</a:t>
            </a:r>
            <a:endParaRPr lang="en-US" dirty="0"/>
          </a:p>
        </p:txBody>
      </p:sp>
      <p:sp>
        <p:nvSpPr>
          <p:cNvPr id="16" name="Text Placeholder 2">
            <a:extLst>
              <a:ext uri="{FF2B5EF4-FFF2-40B4-BE49-F238E27FC236}">
                <a16:creationId xmlns:a16="http://schemas.microsoft.com/office/drawing/2014/main" id="{C6FCDFCC-38D1-43A4-918F-491DBA6B2CF6}"/>
              </a:ext>
            </a:extLst>
          </p:cNvPr>
          <p:cNvSpPr>
            <a:spLocks noGrp="1"/>
          </p:cNvSpPr>
          <p:nvPr>
            <p:ph type="body" idx="1"/>
          </p:nvPr>
        </p:nvSpPr>
        <p:spPr>
          <a:xfrm>
            <a:off x="550864" y="1731375"/>
            <a:ext cx="3563936" cy="535354"/>
          </a:xfrm>
        </p:spPr>
        <p:txBody>
          <a:bodyPr anchor="b">
            <a:noAutofit/>
          </a:bodyPr>
          <a:lstStyle>
            <a:lvl1pPr marL="0" indent="0">
              <a:buNone/>
              <a:defRPr sz="2000" b="0" cap="all" spc="200" baseline="0">
                <a:solidFill>
                  <a:schemeClr val="tx1"/>
                </a:solidFill>
                <a:latin typeface="+mn-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7" name="Content Placeholder 3">
            <a:extLst>
              <a:ext uri="{FF2B5EF4-FFF2-40B4-BE49-F238E27FC236}">
                <a16:creationId xmlns:a16="http://schemas.microsoft.com/office/drawing/2014/main" id="{8A9CB740-8581-4D62-8481-7ECBBEDA7219}"/>
              </a:ext>
            </a:extLst>
          </p:cNvPr>
          <p:cNvSpPr>
            <a:spLocks noGrp="1"/>
          </p:cNvSpPr>
          <p:nvPr>
            <p:ph sz="half" idx="2"/>
          </p:nvPr>
        </p:nvSpPr>
        <p:spPr>
          <a:xfrm>
            <a:off x="559476" y="2432304"/>
            <a:ext cx="3563936" cy="3515555"/>
          </a:xfrm>
        </p:spPr>
        <p:txBody>
          <a:bodyPr>
            <a:noAutofit/>
          </a:bodyPr>
          <a:lstStyle>
            <a:lvl1pPr>
              <a:defRPr sz="1800"/>
            </a:lvl1pPr>
            <a:lvl2pPr>
              <a:defRPr sz="1800"/>
            </a:lvl2pPr>
            <a:lvl3pPr>
              <a:defRPr sz="18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2" name="Text Placeholder 4">
            <a:extLst>
              <a:ext uri="{FF2B5EF4-FFF2-40B4-BE49-F238E27FC236}">
                <a16:creationId xmlns:a16="http://schemas.microsoft.com/office/drawing/2014/main" id="{AB16E493-D962-46EC-BBB8-D7E68A640438}"/>
              </a:ext>
            </a:extLst>
          </p:cNvPr>
          <p:cNvSpPr>
            <a:spLocks noGrp="1"/>
          </p:cNvSpPr>
          <p:nvPr>
            <p:ph type="body" sz="quarter" idx="13"/>
          </p:nvPr>
        </p:nvSpPr>
        <p:spPr>
          <a:xfrm>
            <a:off x="4341573" y="1731375"/>
            <a:ext cx="3566160" cy="535354"/>
          </a:xfrm>
        </p:spPr>
        <p:txBody>
          <a:bodyPr vert="horz" wrap="square" lIns="0" tIns="0" rIns="0" bIns="0" rtlCol="0" anchor="b">
            <a:noAutofit/>
          </a:bodyPr>
          <a:lstStyle>
            <a:lvl1pPr>
              <a:buNone/>
              <a:defRPr lang="en-US" sz="2000" b="0" cap="all" spc="200" baseline="0" dirty="0">
                <a:solidFill>
                  <a:schemeClr val="tx1"/>
                </a:solidFill>
              </a:defRPr>
            </a:lvl1pPr>
          </a:lstStyle>
          <a:p>
            <a:pPr marL="228600" lvl="0" indent="-228600"/>
            <a:r>
              <a:rPr lang="en-US"/>
              <a:t>Click to edit Master text styles</a:t>
            </a:r>
          </a:p>
        </p:txBody>
      </p:sp>
      <p:sp>
        <p:nvSpPr>
          <p:cNvPr id="23" name="Content Placeholder 5">
            <a:extLst>
              <a:ext uri="{FF2B5EF4-FFF2-40B4-BE49-F238E27FC236}">
                <a16:creationId xmlns:a16="http://schemas.microsoft.com/office/drawing/2014/main" id="{88CC7C67-1BA6-42A6-B9D3-8EDF70A3DB38}"/>
              </a:ext>
            </a:extLst>
          </p:cNvPr>
          <p:cNvSpPr>
            <a:spLocks noGrp="1"/>
          </p:cNvSpPr>
          <p:nvPr>
            <p:ph sz="quarter" idx="14"/>
          </p:nvPr>
        </p:nvSpPr>
        <p:spPr>
          <a:xfrm>
            <a:off x="4341573" y="2427370"/>
            <a:ext cx="3508755" cy="3515555"/>
          </a:xfrm>
        </p:spPr>
        <p:txBody>
          <a:bodyPr>
            <a:noAutofit/>
          </a:bodyPr>
          <a:lstStyle>
            <a:lvl1pPr>
              <a:defRPr sz="1700"/>
            </a:lvl1pPr>
            <a:lvl2pPr>
              <a:defRPr sz="1700"/>
            </a:lvl2pPr>
            <a:lvl3pPr>
              <a:defRPr sz="1700"/>
            </a:lvl3pPr>
            <a:lvl4pPr>
              <a:defRPr sz="1700"/>
            </a:lvl4pPr>
            <a:lvl5pPr>
              <a:defRPr sz="17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8" name="Text Placeholder 4">
            <a:extLst>
              <a:ext uri="{FF2B5EF4-FFF2-40B4-BE49-F238E27FC236}">
                <a16:creationId xmlns:a16="http://schemas.microsoft.com/office/drawing/2014/main" id="{C17092A6-D0E6-4EF2-B3B8-AE35438D4D77}"/>
              </a:ext>
            </a:extLst>
          </p:cNvPr>
          <p:cNvSpPr>
            <a:spLocks noGrp="1"/>
          </p:cNvSpPr>
          <p:nvPr>
            <p:ph type="body" sz="quarter" idx="3" hasCustomPrompt="1"/>
          </p:nvPr>
        </p:nvSpPr>
        <p:spPr>
          <a:xfrm>
            <a:off x="8139659" y="1731375"/>
            <a:ext cx="3566160" cy="535354"/>
          </a:xfrm>
        </p:spPr>
        <p:txBody>
          <a:bodyPr vert="horz" wrap="square" lIns="0" tIns="0" rIns="0" bIns="0" rtlCol="0" anchor="b">
            <a:noAutofit/>
          </a:bodyPr>
          <a:lstStyle>
            <a:lvl1pPr>
              <a:buNone/>
              <a:defRPr lang="en-US" sz="2000" b="0" cap="all" spc="200" baseline="0" dirty="0">
                <a:solidFill>
                  <a:schemeClr val="tx1"/>
                </a:solidFill>
              </a:defRPr>
            </a:lvl1pPr>
          </a:lstStyle>
          <a:p>
            <a:pPr marL="228600" lvl="0" indent="-228600"/>
            <a:r>
              <a:rPr lang="en-US" dirty="0"/>
              <a:t>Click to EDIT</a:t>
            </a:r>
          </a:p>
        </p:txBody>
      </p:sp>
      <p:sp>
        <p:nvSpPr>
          <p:cNvPr id="21" name="Content Placeholder 5">
            <a:extLst>
              <a:ext uri="{FF2B5EF4-FFF2-40B4-BE49-F238E27FC236}">
                <a16:creationId xmlns:a16="http://schemas.microsoft.com/office/drawing/2014/main" id="{4534254A-2561-400F-87CB-18A8D3538124}"/>
              </a:ext>
            </a:extLst>
          </p:cNvPr>
          <p:cNvSpPr>
            <a:spLocks noGrp="1"/>
          </p:cNvSpPr>
          <p:nvPr>
            <p:ph sz="quarter" idx="4"/>
          </p:nvPr>
        </p:nvSpPr>
        <p:spPr>
          <a:xfrm>
            <a:off x="8139659" y="2427370"/>
            <a:ext cx="3508755" cy="3515555"/>
          </a:xfrm>
        </p:spPr>
        <p:txBody>
          <a:bodyPr>
            <a:noAutofit/>
          </a:bodyPr>
          <a:lstStyle>
            <a:lvl1pPr>
              <a:defRPr sz="1700"/>
            </a:lvl1pPr>
            <a:lvl2pPr>
              <a:defRPr sz="1700"/>
            </a:lvl2pPr>
            <a:lvl3pPr>
              <a:defRPr sz="1700"/>
            </a:lvl3pPr>
            <a:lvl4pPr>
              <a:defRPr sz="1700"/>
            </a:lvl4pPr>
            <a:lvl5pPr>
              <a:defRPr sz="17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a:extLst>
              <a:ext uri="{FF2B5EF4-FFF2-40B4-BE49-F238E27FC236}">
                <a16:creationId xmlns:a16="http://schemas.microsoft.com/office/drawing/2014/main" id="{8B1BC074-1090-47AF-BDE8-3859BF574BA6}"/>
              </a:ext>
            </a:extLst>
          </p:cNvPr>
          <p:cNvSpPr>
            <a:spLocks noGrp="1"/>
          </p:cNvSpPr>
          <p:nvPr>
            <p:ph type="dt" sz="half" idx="10"/>
          </p:nvPr>
        </p:nvSpPr>
        <p:spPr/>
        <p:txBody>
          <a:bodyPr>
            <a:noAutofit/>
          </a:bodyPr>
          <a:lstStyle/>
          <a:p>
            <a:r>
              <a:rPr lang="en-US"/>
              <a:t>Tuesday, February 2, 20XX</a:t>
            </a:r>
            <a:endParaRPr lang="en-US" dirty="0"/>
          </a:p>
        </p:txBody>
      </p:sp>
      <p:sp>
        <p:nvSpPr>
          <p:cNvPr id="5" name="Footer Placeholder 4">
            <a:extLst>
              <a:ext uri="{FF2B5EF4-FFF2-40B4-BE49-F238E27FC236}">
                <a16:creationId xmlns:a16="http://schemas.microsoft.com/office/drawing/2014/main" id="{F1D6522F-D41A-4734-8BD1-BD6E5A37D04C}"/>
              </a:ext>
            </a:extLst>
          </p:cNvPr>
          <p:cNvSpPr>
            <a:spLocks noGrp="1"/>
          </p:cNvSpPr>
          <p:nvPr>
            <p:ph type="ftr" sz="quarter" idx="11"/>
          </p:nvPr>
        </p:nvSpPr>
        <p:spPr/>
        <p:txBody>
          <a:bodyPr>
            <a:noAutofit/>
          </a:bodyPr>
          <a:lstStyle/>
          <a:p>
            <a:r>
              <a:rPr lang="en-US"/>
              <a:t>Sample Footer Text</a:t>
            </a:r>
          </a:p>
        </p:txBody>
      </p:sp>
      <p:sp>
        <p:nvSpPr>
          <p:cNvPr id="6" name="Slide Number Placeholder 5">
            <a:extLst>
              <a:ext uri="{FF2B5EF4-FFF2-40B4-BE49-F238E27FC236}">
                <a16:creationId xmlns:a16="http://schemas.microsoft.com/office/drawing/2014/main" id="{D74D4206-406C-42A3-BBD4-44C043180931}"/>
              </a:ext>
            </a:extLst>
          </p:cNvPr>
          <p:cNvSpPr>
            <a:spLocks noGrp="1"/>
          </p:cNvSpPr>
          <p:nvPr>
            <p:ph type="sldNum" sz="quarter" idx="12"/>
          </p:nvPr>
        </p:nvSpPr>
        <p:spPr/>
        <p:txBody>
          <a:bodyPr>
            <a:noAutofit/>
          </a:bodyPr>
          <a:lstStyle/>
          <a:p>
            <a:fld id="{DBA1B0FB-D917-4C8C-928F-313BD683BF39}" type="slidenum">
              <a:rPr lang="en-US" smtClean="0"/>
              <a:t>‹#›</a:t>
            </a:fld>
            <a:endParaRPr lang="en-US"/>
          </a:p>
        </p:txBody>
      </p:sp>
    </p:spTree>
    <p:extLst>
      <p:ext uri="{BB962C8B-B14F-4D97-AF65-F5344CB8AC3E}">
        <p14:creationId xmlns:p14="http://schemas.microsoft.com/office/powerpoint/2010/main" val="2285207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2_Summary">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E949202B-67AE-417A-A336-DF5257FFDCF0}"/>
              </a:ext>
            </a:extLst>
          </p:cNvPr>
          <p:cNvSpPr>
            <a:spLocks noGrp="1"/>
          </p:cNvSpPr>
          <p:nvPr>
            <p:ph type="title"/>
          </p:nvPr>
        </p:nvSpPr>
        <p:spPr>
          <a:xfrm>
            <a:off x="550863" y="4508500"/>
            <a:ext cx="4500562" cy="1562959"/>
          </a:xfrm>
        </p:spPr>
        <p:txBody>
          <a:bodyPr wrap="square" anchor="t" anchorCtr="0">
            <a:noAutofit/>
          </a:bodyPr>
          <a:lstStyle/>
          <a:p>
            <a:r>
              <a:rPr lang="en-US"/>
              <a:t>Click to edit Master title style</a:t>
            </a:r>
          </a:p>
        </p:txBody>
      </p:sp>
      <p:sp>
        <p:nvSpPr>
          <p:cNvPr id="10" name="Picture Placeholder 9">
            <a:extLst>
              <a:ext uri="{FF2B5EF4-FFF2-40B4-BE49-F238E27FC236}">
                <a16:creationId xmlns:a16="http://schemas.microsoft.com/office/drawing/2014/main" id="{1786D546-2834-435F-950F-DCEFE654B3B1}"/>
              </a:ext>
            </a:extLst>
          </p:cNvPr>
          <p:cNvSpPr>
            <a:spLocks noGrp="1"/>
          </p:cNvSpPr>
          <p:nvPr>
            <p:ph type="pic" sz="quarter" idx="13"/>
          </p:nvPr>
        </p:nvSpPr>
        <p:spPr>
          <a:xfrm>
            <a:off x="0" y="0"/>
            <a:ext cx="12192000" cy="3776472"/>
          </a:xfrm>
          <a:solidFill>
            <a:schemeClr val="accent5"/>
          </a:solidFill>
        </p:spPr>
        <p:txBody>
          <a:bodyPr>
            <a:noAutofit/>
          </a:bodyPr>
          <a:lstStyle/>
          <a:p>
            <a:r>
              <a:rPr lang="en-US"/>
              <a:t>Click icon to add picture</a:t>
            </a:r>
          </a:p>
        </p:txBody>
      </p:sp>
      <p:sp>
        <p:nvSpPr>
          <p:cNvPr id="7" name="Content Placeholder 6">
            <a:extLst>
              <a:ext uri="{FF2B5EF4-FFF2-40B4-BE49-F238E27FC236}">
                <a16:creationId xmlns:a16="http://schemas.microsoft.com/office/drawing/2014/main" id="{3BD763BD-EAC5-4DB8-81AF-9743BB6A9576}"/>
              </a:ext>
            </a:extLst>
          </p:cNvPr>
          <p:cNvSpPr>
            <a:spLocks noGrp="1"/>
          </p:cNvSpPr>
          <p:nvPr>
            <p:ph sz="quarter" idx="15"/>
          </p:nvPr>
        </p:nvSpPr>
        <p:spPr>
          <a:xfrm>
            <a:off x="5262411" y="4508500"/>
            <a:ext cx="6221412" cy="1563688"/>
          </a:xfrm>
        </p:spPr>
        <p:txBody>
          <a:bodyPr>
            <a:noAutofit/>
          </a:bodyPr>
          <a:lstStyle>
            <a:lvl1pPr marL="0" indent="0">
              <a:buNone/>
              <a:defRPr sz="2000"/>
            </a:lvl1pPr>
            <a:lvl2pPr>
              <a:buNone/>
              <a:defRPr sz="1900"/>
            </a:lvl2pPr>
            <a:lvl3pPr>
              <a:buNone/>
              <a:defRPr sz="1900"/>
            </a:lvl3pPr>
            <a:lvl4pPr>
              <a:buNone/>
              <a:defRPr sz="1900"/>
            </a:lvl4pPr>
            <a:lvl5pPr>
              <a:buNone/>
              <a:defRPr sz="1900"/>
            </a:lvl5pPr>
          </a:lstStyle>
          <a:p>
            <a:pPr lvl="0"/>
            <a:r>
              <a:rPr lang="en-US"/>
              <a:t>Click to edit Master text styles</a:t>
            </a:r>
          </a:p>
        </p:txBody>
      </p:sp>
      <p:sp>
        <p:nvSpPr>
          <p:cNvPr id="2" name="Date Placeholder 1">
            <a:extLst>
              <a:ext uri="{FF2B5EF4-FFF2-40B4-BE49-F238E27FC236}">
                <a16:creationId xmlns:a16="http://schemas.microsoft.com/office/drawing/2014/main" id="{AB81B449-7B97-41DC-B23F-65EDCBD316A6}"/>
              </a:ext>
            </a:extLst>
          </p:cNvPr>
          <p:cNvSpPr>
            <a:spLocks noGrp="1"/>
          </p:cNvSpPr>
          <p:nvPr>
            <p:ph type="dt" sz="half" idx="10"/>
          </p:nvPr>
        </p:nvSpPr>
        <p:spPr/>
        <p:txBody>
          <a:bodyPr>
            <a:noAutofit/>
          </a:bodyPr>
          <a:lstStyle/>
          <a:p>
            <a:r>
              <a:rPr lang="en-US"/>
              <a:t>Tuesday, February 2, 20XX</a:t>
            </a:r>
          </a:p>
        </p:txBody>
      </p:sp>
      <p:sp>
        <p:nvSpPr>
          <p:cNvPr id="3" name="Footer Placeholder 2">
            <a:extLst>
              <a:ext uri="{FF2B5EF4-FFF2-40B4-BE49-F238E27FC236}">
                <a16:creationId xmlns:a16="http://schemas.microsoft.com/office/drawing/2014/main" id="{7C6B46D5-337B-4906-8412-4EEA3884FA7E}"/>
              </a:ext>
            </a:extLst>
          </p:cNvPr>
          <p:cNvSpPr>
            <a:spLocks noGrp="1"/>
          </p:cNvSpPr>
          <p:nvPr>
            <p:ph type="ftr" sz="quarter" idx="11"/>
          </p:nvPr>
        </p:nvSpPr>
        <p:spPr/>
        <p:txBody>
          <a:bodyPr>
            <a:noAutofit/>
          </a:bodyPr>
          <a:lstStyle/>
          <a:p>
            <a:r>
              <a:rPr lang="en-US"/>
              <a:t>Sample Footer Text</a:t>
            </a:r>
          </a:p>
        </p:txBody>
      </p:sp>
      <p:sp>
        <p:nvSpPr>
          <p:cNvPr id="4" name="Slide Number Placeholder 3">
            <a:extLst>
              <a:ext uri="{FF2B5EF4-FFF2-40B4-BE49-F238E27FC236}">
                <a16:creationId xmlns:a16="http://schemas.microsoft.com/office/drawing/2014/main" id="{E436F230-C9A7-407A-B923-873839C8D8A0}"/>
              </a:ext>
            </a:extLst>
          </p:cNvPr>
          <p:cNvSpPr>
            <a:spLocks noGrp="1"/>
          </p:cNvSpPr>
          <p:nvPr>
            <p:ph type="sldNum" sz="quarter" idx="12"/>
          </p:nvPr>
        </p:nvSpPr>
        <p:spPr/>
        <p:txBody>
          <a:bodyPr>
            <a:noAutofit/>
          </a:bodyPr>
          <a:lstStyle/>
          <a:p>
            <a:fld id="{DBA1B0FB-D917-4C8C-928F-313BD683BF39}" type="slidenum">
              <a:rPr lang="en-US" smtClean="0"/>
              <a:t>‹#›</a:t>
            </a:fld>
            <a:endParaRPr lang="en-US"/>
          </a:p>
        </p:txBody>
      </p:sp>
      <p:sp>
        <p:nvSpPr>
          <p:cNvPr id="8" name="Oval 7">
            <a:extLst>
              <a:ext uri="{FF2B5EF4-FFF2-40B4-BE49-F238E27FC236}">
                <a16:creationId xmlns:a16="http://schemas.microsoft.com/office/drawing/2014/main" id="{446AF837-10C6-44A5-B8D6-960A57487B43}"/>
              </a:ext>
              <a:ext uri="{C183D7F6-B498-43B3-948B-1728B52AA6E4}">
                <adec:decorative xmlns:adec="http://schemas.microsoft.com/office/drawing/2017/decorative" val="1"/>
              </a:ext>
            </a:extLst>
          </p:cNvPr>
          <p:cNvSpPr>
            <a:spLocks noChangeAspect="1"/>
          </p:cNvSpPr>
          <p:nvPr userDrawn="1"/>
        </p:nvSpPr>
        <p:spPr>
          <a:xfrm>
            <a:off x="1225773" y="3852225"/>
            <a:ext cx="360000" cy="360000"/>
          </a:xfrm>
          <a:prstGeom prst="ellipse">
            <a:avLst/>
          </a:prstGeom>
          <a:gradFill flip="none" rotWithShape="1">
            <a:gsLst>
              <a:gs pos="100000">
                <a:schemeClr val="bg2">
                  <a:lumMod val="50000"/>
                  <a:lumOff val="50000"/>
                </a:schemeClr>
              </a:gs>
              <a:gs pos="60000">
                <a:schemeClr val="bg2"/>
              </a:gs>
            </a:gsLst>
            <a:path path="circle">
              <a:fillToRect l="100000" b="100000"/>
            </a:path>
            <a:tileRect t="-100000" r="-100000"/>
          </a:gradFill>
          <a:ln>
            <a:noFill/>
          </a:ln>
          <a:effectLst>
            <a:innerShdw blurRad="127000" dist="63500" dir="2700000">
              <a:schemeClr val="accent1">
                <a:lumMod val="60000"/>
                <a:lumOff val="40000"/>
                <a:alpha val="20000"/>
              </a:schemeClr>
            </a:innerShdw>
            <a:softEdge rad="0"/>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Tree>
    <p:extLst>
      <p:ext uri="{BB962C8B-B14F-4D97-AF65-F5344CB8AC3E}">
        <p14:creationId xmlns:p14="http://schemas.microsoft.com/office/powerpoint/2010/main" val="142547702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3_Closing">
    <p:spTree>
      <p:nvGrpSpPr>
        <p:cNvPr id="1" name=""/>
        <p:cNvGrpSpPr/>
        <p:nvPr/>
      </p:nvGrpSpPr>
      <p:grpSpPr>
        <a:xfrm>
          <a:off x="0" y="0"/>
          <a:ext cx="0" cy="0"/>
          <a:chOff x="0" y="0"/>
          <a:chExt cx="0" cy="0"/>
        </a:xfrm>
      </p:grpSpPr>
      <p:sp>
        <p:nvSpPr>
          <p:cNvPr id="28" name="Title 1">
            <a:extLst>
              <a:ext uri="{FF2B5EF4-FFF2-40B4-BE49-F238E27FC236}">
                <a16:creationId xmlns:a16="http://schemas.microsoft.com/office/drawing/2014/main" id="{97246E34-E6EE-4BF3-A0D3-A20868B5A594}"/>
              </a:ext>
            </a:extLst>
          </p:cNvPr>
          <p:cNvSpPr>
            <a:spLocks noGrp="1"/>
          </p:cNvSpPr>
          <p:nvPr>
            <p:ph type="ctrTitle"/>
          </p:nvPr>
        </p:nvSpPr>
        <p:spPr>
          <a:xfrm>
            <a:off x="550863" y="549275"/>
            <a:ext cx="5437187" cy="2986234"/>
          </a:xfrm>
        </p:spPr>
        <p:txBody>
          <a:bodyPr anchor="b" anchorCtr="0">
            <a:noAutofit/>
          </a:bodyPr>
          <a:lstStyle/>
          <a:p>
            <a:r>
              <a:rPr lang="en-US"/>
              <a:t>Click to edit Master title style</a:t>
            </a:r>
            <a:endParaRPr lang="en-US" dirty="0"/>
          </a:p>
        </p:txBody>
      </p:sp>
      <p:sp>
        <p:nvSpPr>
          <p:cNvPr id="31" name="Subtitle 2">
            <a:extLst>
              <a:ext uri="{FF2B5EF4-FFF2-40B4-BE49-F238E27FC236}">
                <a16:creationId xmlns:a16="http://schemas.microsoft.com/office/drawing/2014/main" id="{45BE5FFB-47D1-4474-B6CA-C3C936DF285E}"/>
              </a:ext>
            </a:extLst>
          </p:cNvPr>
          <p:cNvSpPr>
            <a:spLocks noGrp="1"/>
          </p:cNvSpPr>
          <p:nvPr>
            <p:ph type="subTitle" idx="1"/>
          </p:nvPr>
        </p:nvSpPr>
        <p:spPr>
          <a:xfrm>
            <a:off x="550863" y="3827610"/>
            <a:ext cx="5437187" cy="2265216"/>
          </a:xfrm>
        </p:spPr>
        <p:txBody>
          <a:bodyPr>
            <a:noAutofit/>
          </a:bodyPr>
          <a:lstStyle>
            <a:lvl1pPr>
              <a:buNone/>
              <a:defRPr sz="2400"/>
            </a:lvl1pPr>
          </a:lstStyle>
          <a:p>
            <a:r>
              <a:rPr lang="en-US">
                <a:solidFill>
                  <a:schemeClr val="tx1">
                    <a:alpha val="60000"/>
                  </a:schemeClr>
                </a:solidFill>
              </a:rPr>
              <a:t>Click to edit Master subtitle style</a:t>
            </a:r>
            <a:endParaRPr lang="en-US" dirty="0">
              <a:solidFill>
                <a:schemeClr val="tx1">
                  <a:alpha val="60000"/>
                </a:schemeClr>
              </a:solidFill>
            </a:endParaRPr>
          </a:p>
        </p:txBody>
      </p:sp>
      <p:sp>
        <p:nvSpPr>
          <p:cNvPr id="40" name="Picture Placeholder 39">
            <a:extLst>
              <a:ext uri="{FF2B5EF4-FFF2-40B4-BE49-F238E27FC236}">
                <a16:creationId xmlns:a16="http://schemas.microsoft.com/office/drawing/2014/main" id="{008D9209-1A62-4AC3-BF92-94348A9BC06B}"/>
              </a:ext>
            </a:extLst>
          </p:cNvPr>
          <p:cNvSpPr>
            <a:spLocks noGrp="1"/>
          </p:cNvSpPr>
          <p:nvPr>
            <p:ph type="pic" sz="quarter" idx="15"/>
          </p:nvPr>
        </p:nvSpPr>
        <p:spPr>
          <a:xfrm>
            <a:off x="6556248" y="548640"/>
            <a:ext cx="5084064" cy="2880360"/>
          </a:xfrm>
          <a:solidFill>
            <a:schemeClr val="accent5"/>
          </a:solidFill>
        </p:spPr>
        <p:txBody>
          <a:bodyPr>
            <a:noAutofit/>
          </a:bodyPr>
          <a:lstStyle/>
          <a:p>
            <a:r>
              <a:rPr lang="en-US"/>
              <a:t>Click icon to add picture</a:t>
            </a:r>
            <a:endParaRPr lang="en-US" dirty="0"/>
          </a:p>
        </p:txBody>
      </p:sp>
      <p:sp>
        <p:nvSpPr>
          <p:cNvPr id="42" name="Picture Placeholder 41">
            <a:extLst>
              <a:ext uri="{FF2B5EF4-FFF2-40B4-BE49-F238E27FC236}">
                <a16:creationId xmlns:a16="http://schemas.microsoft.com/office/drawing/2014/main" id="{FADBFB6B-1787-4549-91B6-D748C66B13C6}"/>
              </a:ext>
            </a:extLst>
          </p:cNvPr>
          <p:cNvSpPr>
            <a:spLocks noGrp="1"/>
          </p:cNvSpPr>
          <p:nvPr>
            <p:ph type="pic" sz="quarter" idx="16"/>
          </p:nvPr>
        </p:nvSpPr>
        <p:spPr>
          <a:xfrm>
            <a:off x="6556248" y="3429000"/>
            <a:ext cx="5084064" cy="2880360"/>
          </a:xfrm>
          <a:solidFill>
            <a:schemeClr val="accent5"/>
          </a:solidFill>
        </p:spPr>
        <p:txBody>
          <a:bodyPr>
            <a:noAutofit/>
          </a:bodyPr>
          <a:lstStyle/>
          <a:p>
            <a:r>
              <a:rPr lang="en-US"/>
              <a:t>Click icon to add picture</a:t>
            </a:r>
          </a:p>
        </p:txBody>
      </p:sp>
      <p:grpSp>
        <p:nvGrpSpPr>
          <p:cNvPr id="43" name="Group 42">
            <a:extLst>
              <a:ext uri="{FF2B5EF4-FFF2-40B4-BE49-F238E27FC236}">
                <a16:creationId xmlns:a16="http://schemas.microsoft.com/office/drawing/2014/main" id="{06966E3E-9B30-4375-AC9A-23256CC87D25}"/>
              </a:ext>
              <a:ext uri="{C183D7F6-B498-43B3-948B-1728B52AA6E4}">
                <adec:decorative xmlns:adec="http://schemas.microsoft.com/office/drawing/2017/decorative" val="1"/>
              </a:ext>
            </a:extLst>
          </p:cNvPr>
          <p:cNvGrpSpPr/>
          <p:nvPr userDrawn="1"/>
        </p:nvGrpSpPr>
        <p:grpSpPr>
          <a:xfrm>
            <a:off x="11161347" y="125399"/>
            <a:ext cx="1404698" cy="1155641"/>
            <a:chOff x="11161347" y="125399"/>
            <a:chExt cx="1404698" cy="1155641"/>
          </a:xfrm>
        </p:grpSpPr>
        <p:sp>
          <p:nvSpPr>
            <p:cNvPr id="44" name="Freeform: Shape 43">
              <a:extLst>
                <a:ext uri="{FF2B5EF4-FFF2-40B4-BE49-F238E27FC236}">
                  <a16:creationId xmlns:a16="http://schemas.microsoft.com/office/drawing/2014/main" id="{4EBBC5A2-A37E-47DF-9230-9A75067F1883}"/>
                </a:ext>
              </a:extLst>
            </p:cNvPr>
            <p:cNvSpPr>
              <a:spLocks noChangeAspect="1"/>
            </p:cNvSpPr>
            <p:nvPr/>
          </p:nvSpPr>
          <p:spPr>
            <a:xfrm rot="18900000">
              <a:off x="11161347" y="125399"/>
              <a:ext cx="1341675" cy="926985"/>
            </a:xfrm>
            <a:custGeom>
              <a:avLst/>
              <a:gdLst>
                <a:gd name="connsiteX0" fmla="*/ 1049126 w 1341675"/>
                <a:gd name="connsiteY0" fmla="*/ 8962 h 926985"/>
                <a:gd name="connsiteX1" fmla="*/ 1341675 w 1341675"/>
                <a:gd name="connsiteY1" fmla="*/ 301511 h 926985"/>
                <a:gd name="connsiteX2" fmla="*/ 1130649 w 1341675"/>
                <a:gd name="connsiteY2" fmla="*/ 512537 h 926985"/>
                <a:gd name="connsiteX3" fmla="*/ 1107397 w 1341675"/>
                <a:gd name="connsiteY3" fmla="*/ 499917 h 926985"/>
                <a:gd name="connsiteX4" fmla="*/ 926985 w 1341675"/>
                <a:gd name="connsiteY4" fmla="*/ 463493 h 926985"/>
                <a:gd name="connsiteX5" fmla="*/ 463493 w 1341675"/>
                <a:gd name="connsiteY5" fmla="*/ 926985 h 926985"/>
                <a:gd name="connsiteX6" fmla="*/ 0 w 1341675"/>
                <a:gd name="connsiteY6" fmla="*/ 926985 h 926985"/>
                <a:gd name="connsiteX7" fmla="*/ 926985 w 1341675"/>
                <a:gd name="connsiteY7" fmla="*/ 0 h 926985"/>
                <a:gd name="connsiteX8" fmla="*/ 1021763 w 1341675"/>
                <a:gd name="connsiteY8" fmla="*/ 4786 h 9269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41675" h="926985">
                  <a:moveTo>
                    <a:pt x="1049126" y="8962"/>
                  </a:moveTo>
                  <a:lnTo>
                    <a:pt x="1341675" y="301511"/>
                  </a:lnTo>
                  <a:lnTo>
                    <a:pt x="1130649" y="512537"/>
                  </a:lnTo>
                  <a:lnTo>
                    <a:pt x="1107397" y="499917"/>
                  </a:lnTo>
                  <a:cubicBezTo>
                    <a:pt x="1051945" y="476462"/>
                    <a:pt x="990979" y="463493"/>
                    <a:pt x="926985" y="463493"/>
                  </a:cubicBezTo>
                  <a:cubicBezTo>
                    <a:pt x="671005" y="463493"/>
                    <a:pt x="463493" y="671005"/>
                    <a:pt x="463493" y="926985"/>
                  </a:cubicBezTo>
                  <a:lnTo>
                    <a:pt x="0" y="926985"/>
                  </a:lnTo>
                  <a:cubicBezTo>
                    <a:pt x="0" y="415026"/>
                    <a:pt x="415025" y="0"/>
                    <a:pt x="926985" y="0"/>
                  </a:cubicBezTo>
                  <a:cubicBezTo>
                    <a:pt x="958982" y="0"/>
                    <a:pt x="990601" y="1621"/>
                    <a:pt x="1021763" y="4786"/>
                  </a:cubicBezTo>
                  <a:close/>
                </a:path>
              </a:pathLst>
            </a:custGeom>
            <a:solidFill>
              <a:schemeClr val="bg2"/>
            </a:solidFill>
            <a:ln>
              <a:noFill/>
            </a:ln>
            <a:effectLst>
              <a:innerShdw blurRad="254000" dist="50800" dir="5400000">
                <a:schemeClr val="accent1">
                  <a:lumMod val="40000"/>
                  <a:lumOff val="60000"/>
                  <a:alpha val="40000"/>
                </a:schemeClr>
              </a:inn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solidFill>
                  <a:schemeClr val="tx1"/>
                </a:solidFill>
              </a:endParaRPr>
            </a:p>
          </p:txBody>
        </p:sp>
        <p:sp>
          <p:nvSpPr>
            <p:cNvPr id="45" name="Oval 44">
              <a:extLst>
                <a:ext uri="{FF2B5EF4-FFF2-40B4-BE49-F238E27FC236}">
                  <a16:creationId xmlns:a16="http://schemas.microsoft.com/office/drawing/2014/main" id="{11781B9A-C230-4FFC-90A8-E0571B1DEDA7}"/>
                </a:ext>
              </a:extLst>
            </p:cNvPr>
            <p:cNvSpPr/>
            <p:nvPr/>
          </p:nvSpPr>
          <p:spPr>
            <a:xfrm rot="2700000">
              <a:off x="11798454" y="994196"/>
              <a:ext cx="107098" cy="466589"/>
            </a:xfrm>
            <a:prstGeom prst="ellipse">
              <a:avLst/>
            </a:prstGeom>
            <a:solidFill>
              <a:schemeClr val="bg2"/>
            </a:solidFill>
            <a:ln>
              <a:noFill/>
            </a:ln>
            <a:effectLst>
              <a:innerShdw blurRad="63500" dist="2540000">
                <a:schemeClr val="accent1">
                  <a:lumMod val="40000"/>
                  <a:lumOff val="60000"/>
                  <a:alpha val="20000"/>
                </a:scheme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46" name="Freeform: Shape 45">
              <a:extLst>
                <a:ext uri="{FF2B5EF4-FFF2-40B4-BE49-F238E27FC236}">
                  <a16:creationId xmlns:a16="http://schemas.microsoft.com/office/drawing/2014/main" id="{3295925C-3570-40F1-B3CE-07D947ED4643}"/>
                </a:ext>
              </a:extLst>
            </p:cNvPr>
            <p:cNvSpPr>
              <a:spLocks noChangeAspect="1"/>
            </p:cNvSpPr>
            <p:nvPr/>
          </p:nvSpPr>
          <p:spPr>
            <a:xfrm rot="18900000">
              <a:off x="11228590" y="129580"/>
              <a:ext cx="1337455" cy="1042921"/>
            </a:xfrm>
            <a:custGeom>
              <a:avLst/>
              <a:gdLst>
                <a:gd name="connsiteX0" fmla="*/ 1084058 w 1337455"/>
                <a:gd name="connsiteY0" fmla="*/ 16081 h 1042921"/>
                <a:gd name="connsiteX1" fmla="*/ 1337455 w 1337455"/>
                <a:gd name="connsiteY1" fmla="*/ 269477 h 1042921"/>
                <a:gd name="connsiteX2" fmla="*/ 1060775 w 1337455"/>
                <a:gd name="connsiteY2" fmla="*/ 546158 h 1042921"/>
                <a:gd name="connsiteX3" fmla="*/ 1020394 w 1337455"/>
                <a:gd name="connsiteY3" fmla="*/ 532055 h 1042921"/>
                <a:gd name="connsiteX4" fmla="*/ 926985 w 1337455"/>
                <a:gd name="connsiteY4" fmla="*/ 521461 h 1042921"/>
                <a:gd name="connsiteX5" fmla="*/ 463492 w 1337455"/>
                <a:gd name="connsiteY5" fmla="*/ 1042921 h 1042921"/>
                <a:gd name="connsiteX6" fmla="*/ 0 w 1337455"/>
                <a:gd name="connsiteY6" fmla="*/ 1042921 h 1042921"/>
                <a:gd name="connsiteX7" fmla="*/ 926984 w 1337455"/>
                <a:gd name="connsiteY7" fmla="*/ 0 h 1042921"/>
                <a:gd name="connsiteX8" fmla="*/ 1021763 w 1337455"/>
                <a:gd name="connsiteY8" fmla="*/ 5384 h 10429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37455" h="1042921">
                  <a:moveTo>
                    <a:pt x="1084058" y="16081"/>
                  </a:moveTo>
                  <a:lnTo>
                    <a:pt x="1337455" y="269477"/>
                  </a:lnTo>
                  <a:lnTo>
                    <a:pt x="1060775" y="546158"/>
                  </a:lnTo>
                  <a:lnTo>
                    <a:pt x="1020394" y="532055"/>
                  </a:lnTo>
                  <a:cubicBezTo>
                    <a:pt x="990222" y="525109"/>
                    <a:pt x="958982" y="521461"/>
                    <a:pt x="926985" y="521461"/>
                  </a:cubicBezTo>
                  <a:cubicBezTo>
                    <a:pt x="671005" y="521461"/>
                    <a:pt x="463493" y="754927"/>
                    <a:pt x="463492" y="1042921"/>
                  </a:cubicBezTo>
                  <a:lnTo>
                    <a:pt x="0" y="1042921"/>
                  </a:lnTo>
                  <a:cubicBezTo>
                    <a:pt x="0" y="466932"/>
                    <a:pt x="415025" y="0"/>
                    <a:pt x="926984" y="0"/>
                  </a:cubicBezTo>
                  <a:cubicBezTo>
                    <a:pt x="958982" y="0"/>
                    <a:pt x="990600" y="1824"/>
                    <a:pt x="1021763" y="5384"/>
                  </a:cubicBezTo>
                  <a:close/>
                </a:path>
              </a:pathLst>
            </a:custGeom>
            <a:solidFill>
              <a:schemeClr val="bg2">
                <a:lumMod val="50000"/>
                <a:lumOff val="50000"/>
                <a:alpha val="40000"/>
              </a:schemeClr>
            </a:solidFill>
            <a:ln>
              <a:noFill/>
            </a:ln>
            <a:effectLst>
              <a:softEdge rad="190500"/>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solidFill>
                  <a:schemeClr val="tx1"/>
                </a:solidFill>
              </a:endParaRPr>
            </a:p>
          </p:txBody>
        </p:sp>
      </p:grpSp>
      <p:grpSp>
        <p:nvGrpSpPr>
          <p:cNvPr id="15" name="Group 14">
            <a:extLst>
              <a:ext uri="{FF2B5EF4-FFF2-40B4-BE49-F238E27FC236}">
                <a16:creationId xmlns:a16="http://schemas.microsoft.com/office/drawing/2014/main" id="{394664AE-6DC5-428F-9AC4-5A8F67571F72}"/>
              </a:ext>
              <a:ext uri="{C183D7F6-B498-43B3-948B-1728B52AA6E4}">
                <adec:decorative xmlns:adec="http://schemas.microsoft.com/office/drawing/2017/decorative" val="1"/>
              </a:ext>
            </a:extLst>
          </p:cNvPr>
          <p:cNvGrpSpPr/>
          <p:nvPr userDrawn="1"/>
        </p:nvGrpSpPr>
        <p:grpSpPr>
          <a:xfrm>
            <a:off x="594036" y="5610392"/>
            <a:ext cx="667802" cy="631474"/>
            <a:chOff x="10478914" y="1506691"/>
            <a:chExt cx="667802" cy="631474"/>
          </a:xfrm>
        </p:grpSpPr>
        <p:sp>
          <p:nvSpPr>
            <p:cNvPr id="16" name="Freeform: Shape 15">
              <a:extLst>
                <a:ext uri="{FF2B5EF4-FFF2-40B4-BE49-F238E27FC236}">
                  <a16:creationId xmlns:a16="http://schemas.microsoft.com/office/drawing/2014/main" id="{8288F304-7DF7-42FB-BD6F-D575128A1DDE}"/>
                </a:ext>
              </a:extLst>
            </p:cNvPr>
            <p:cNvSpPr>
              <a:spLocks noChangeAspect="1"/>
            </p:cNvSpPr>
            <p:nvPr/>
          </p:nvSpPr>
          <p:spPr>
            <a:xfrm rot="8100000">
              <a:off x="10606715" y="1506691"/>
              <a:ext cx="540001" cy="631474"/>
            </a:xfrm>
            <a:custGeom>
              <a:avLst/>
              <a:gdLst>
                <a:gd name="connsiteX0" fmla="*/ 540000 w 1080000"/>
                <a:gd name="connsiteY0" fmla="*/ 0 h 1262947"/>
                <a:gd name="connsiteX1" fmla="*/ 1080000 w 1080000"/>
                <a:gd name="connsiteY1" fmla="*/ 931034 h 1262947"/>
                <a:gd name="connsiteX2" fmla="*/ 1064374 w 1080000"/>
                <a:gd name="connsiteY2" fmla="*/ 931034 h 1262947"/>
                <a:gd name="connsiteX3" fmla="*/ 1069029 w 1080000"/>
                <a:gd name="connsiteY3" fmla="*/ 938533 h 1262947"/>
                <a:gd name="connsiteX4" fmla="*/ 1080000 w 1080000"/>
                <a:gd name="connsiteY4" fmla="*/ 992947 h 1262947"/>
                <a:gd name="connsiteX5" fmla="*/ 540000 w 1080000"/>
                <a:gd name="connsiteY5" fmla="*/ 1262947 h 1262947"/>
                <a:gd name="connsiteX6" fmla="*/ 0 w 1080000"/>
                <a:gd name="connsiteY6" fmla="*/ 992947 h 1262947"/>
                <a:gd name="connsiteX7" fmla="*/ 10971 w 1080000"/>
                <a:gd name="connsiteY7" fmla="*/ 938533 h 1262947"/>
                <a:gd name="connsiteX8" fmla="*/ 15626 w 1080000"/>
                <a:gd name="connsiteY8" fmla="*/ 931034 h 1262947"/>
                <a:gd name="connsiteX9" fmla="*/ 0 w 1080000"/>
                <a:gd name="connsiteY9" fmla="*/ 931034 h 1262947"/>
                <a:gd name="connsiteX0" fmla="*/ 540000 w 1080000"/>
                <a:gd name="connsiteY0" fmla="*/ 0 h 1262947"/>
                <a:gd name="connsiteX1" fmla="*/ 1080000 w 1080000"/>
                <a:gd name="connsiteY1" fmla="*/ 931034 h 1262947"/>
                <a:gd name="connsiteX2" fmla="*/ 1064374 w 1080000"/>
                <a:gd name="connsiteY2" fmla="*/ 931034 h 1262947"/>
                <a:gd name="connsiteX3" fmla="*/ 1069029 w 1080000"/>
                <a:gd name="connsiteY3" fmla="*/ 938533 h 1262947"/>
                <a:gd name="connsiteX4" fmla="*/ 1080000 w 1080000"/>
                <a:gd name="connsiteY4" fmla="*/ 992947 h 1262947"/>
                <a:gd name="connsiteX5" fmla="*/ 540000 w 1080000"/>
                <a:gd name="connsiteY5" fmla="*/ 1262947 h 1262947"/>
                <a:gd name="connsiteX6" fmla="*/ 0 w 1080000"/>
                <a:gd name="connsiteY6" fmla="*/ 992947 h 1262947"/>
                <a:gd name="connsiteX7" fmla="*/ 10971 w 1080000"/>
                <a:gd name="connsiteY7" fmla="*/ 938533 h 1262947"/>
                <a:gd name="connsiteX8" fmla="*/ 15626 w 1080000"/>
                <a:gd name="connsiteY8" fmla="*/ 931034 h 1262947"/>
                <a:gd name="connsiteX9" fmla="*/ 540000 w 1080000"/>
                <a:gd name="connsiteY9" fmla="*/ 0 h 1262947"/>
                <a:gd name="connsiteX0" fmla="*/ 540000 w 1080000"/>
                <a:gd name="connsiteY0" fmla="*/ 0 h 1262947"/>
                <a:gd name="connsiteX1" fmla="*/ 1064374 w 1080000"/>
                <a:gd name="connsiteY1" fmla="*/ 931034 h 1262947"/>
                <a:gd name="connsiteX2" fmla="*/ 1069029 w 1080000"/>
                <a:gd name="connsiteY2" fmla="*/ 938533 h 1262947"/>
                <a:gd name="connsiteX3" fmla="*/ 1080000 w 1080000"/>
                <a:gd name="connsiteY3" fmla="*/ 992947 h 1262947"/>
                <a:gd name="connsiteX4" fmla="*/ 540000 w 1080000"/>
                <a:gd name="connsiteY4" fmla="*/ 1262947 h 1262947"/>
                <a:gd name="connsiteX5" fmla="*/ 0 w 1080000"/>
                <a:gd name="connsiteY5" fmla="*/ 992947 h 1262947"/>
                <a:gd name="connsiteX6" fmla="*/ 10971 w 1080000"/>
                <a:gd name="connsiteY6" fmla="*/ 938533 h 1262947"/>
                <a:gd name="connsiteX7" fmla="*/ 15626 w 1080000"/>
                <a:gd name="connsiteY7" fmla="*/ 931034 h 1262947"/>
                <a:gd name="connsiteX8" fmla="*/ 540000 w 1080000"/>
                <a:gd name="connsiteY8" fmla="*/ 0 h 12629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80000" h="1262947">
                  <a:moveTo>
                    <a:pt x="540000" y="0"/>
                  </a:moveTo>
                  <a:lnTo>
                    <a:pt x="1064374" y="931034"/>
                  </a:lnTo>
                  <a:lnTo>
                    <a:pt x="1069029" y="938533"/>
                  </a:lnTo>
                  <a:cubicBezTo>
                    <a:pt x="1076223" y="956109"/>
                    <a:pt x="1080000" y="974307"/>
                    <a:pt x="1080000" y="992947"/>
                  </a:cubicBezTo>
                  <a:cubicBezTo>
                    <a:pt x="1080000" y="1142064"/>
                    <a:pt x="838234" y="1262947"/>
                    <a:pt x="540000" y="1262947"/>
                  </a:cubicBezTo>
                  <a:cubicBezTo>
                    <a:pt x="241766" y="1262947"/>
                    <a:pt x="0" y="1142064"/>
                    <a:pt x="0" y="992947"/>
                  </a:cubicBezTo>
                  <a:cubicBezTo>
                    <a:pt x="0" y="974307"/>
                    <a:pt x="3778" y="956109"/>
                    <a:pt x="10971" y="938533"/>
                  </a:cubicBezTo>
                  <a:lnTo>
                    <a:pt x="15626" y="931034"/>
                  </a:lnTo>
                  <a:lnTo>
                    <a:pt x="540000" y="0"/>
                  </a:lnTo>
                  <a:close/>
                </a:path>
              </a:pathLst>
            </a:custGeom>
            <a:gradFill>
              <a:gsLst>
                <a:gs pos="60000">
                  <a:schemeClr val="bg2">
                    <a:lumMod val="90000"/>
                    <a:lumOff val="10000"/>
                  </a:schemeClr>
                </a:gs>
                <a:gs pos="30000">
                  <a:schemeClr val="bg2">
                    <a:lumMod val="90000"/>
                    <a:lumOff val="10000"/>
                  </a:schemeClr>
                </a:gs>
                <a:gs pos="40000">
                  <a:schemeClr val="bg2">
                    <a:lumMod val="80000"/>
                    <a:lumOff val="20000"/>
                  </a:schemeClr>
                </a:gs>
                <a:gs pos="100000">
                  <a:schemeClr val="bg2"/>
                </a:gs>
              </a:gsLst>
              <a:lin ang="600000" scaled="0"/>
            </a:gradFill>
            <a:ln>
              <a:noFill/>
            </a:ln>
            <a:effectLst>
              <a:innerShdw blurRad="101600" dist="50800" dir="7320000">
                <a:schemeClr val="accent1">
                  <a:lumMod val="60000"/>
                  <a:lumOff val="40000"/>
                  <a:alpha val="20000"/>
                </a:scheme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21" name="Oval 20">
              <a:extLst>
                <a:ext uri="{FF2B5EF4-FFF2-40B4-BE49-F238E27FC236}">
                  <a16:creationId xmlns:a16="http://schemas.microsoft.com/office/drawing/2014/main" id="{104835D9-7DE9-4DDD-A6C2-1C526822700A}"/>
                </a:ext>
              </a:extLst>
            </p:cNvPr>
            <p:cNvSpPr/>
            <p:nvPr/>
          </p:nvSpPr>
          <p:spPr>
            <a:xfrm rot="13500000">
              <a:off x="10613915" y="1424627"/>
              <a:ext cx="270000" cy="540001"/>
            </a:xfrm>
            <a:prstGeom prst="ellipse">
              <a:avLst/>
            </a:prstGeom>
            <a:solidFill>
              <a:schemeClr val="bg2">
                <a:lumMod val="90000"/>
                <a:lumOff val="10000"/>
              </a:schemeClr>
            </a:solidFill>
            <a:ln>
              <a:noFill/>
            </a:ln>
            <a:effectLst>
              <a:innerShdw blurRad="1270000" dist="2540000">
                <a:schemeClr val="accent1">
                  <a:lumMod val="60000"/>
                  <a:lumOff val="40000"/>
                  <a:alpha val="0"/>
                </a:scheme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grpSp>
      <p:sp>
        <p:nvSpPr>
          <p:cNvPr id="5" name="Date Placeholder 4">
            <a:extLst>
              <a:ext uri="{FF2B5EF4-FFF2-40B4-BE49-F238E27FC236}">
                <a16:creationId xmlns:a16="http://schemas.microsoft.com/office/drawing/2014/main" id="{E57D2D6F-49E8-4217-A908-2D9E43583589}"/>
              </a:ext>
            </a:extLst>
          </p:cNvPr>
          <p:cNvSpPr>
            <a:spLocks noGrp="1"/>
          </p:cNvSpPr>
          <p:nvPr>
            <p:ph type="dt" sz="half" idx="10"/>
          </p:nvPr>
        </p:nvSpPr>
        <p:spPr/>
        <p:txBody>
          <a:bodyPr>
            <a:noAutofit/>
          </a:bodyPr>
          <a:lstStyle/>
          <a:p>
            <a:r>
              <a:rPr lang="en-US"/>
              <a:t>Tuesday, February 2, 20XX</a:t>
            </a:r>
          </a:p>
        </p:txBody>
      </p:sp>
      <p:sp>
        <p:nvSpPr>
          <p:cNvPr id="6" name="Footer Placeholder 5">
            <a:extLst>
              <a:ext uri="{FF2B5EF4-FFF2-40B4-BE49-F238E27FC236}">
                <a16:creationId xmlns:a16="http://schemas.microsoft.com/office/drawing/2014/main" id="{591C4440-6B8D-4A24-A807-8B1302A3DFAF}"/>
              </a:ext>
            </a:extLst>
          </p:cNvPr>
          <p:cNvSpPr>
            <a:spLocks noGrp="1"/>
          </p:cNvSpPr>
          <p:nvPr>
            <p:ph type="ftr" sz="quarter" idx="11"/>
          </p:nvPr>
        </p:nvSpPr>
        <p:spPr/>
        <p:txBody>
          <a:bodyPr>
            <a:noAutofit/>
          </a:bodyPr>
          <a:lstStyle/>
          <a:p>
            <a:r>
              <a:rPr lang="en-US"/>
              <a:t>Sample Footer Text</a:t>
            </a:r>
          </a:p>
        </p:txBody>
      </p:sp>
      <p:sp>
        <p:nvSpPr>
          <p:cNvPr id="7" name="Slide Number Placeholder 6">
            <a:extLst>
              <a:ext uri="{FF2B5EF4-FFF2-40B4-BE49-F238E27FC236}">
                <a16:creationId xmlns:a16="http://schemas.microsoft.com/office/drawing/2014/main" id="{76CFE189-E20B-4108-B290-244424336512}"/>
              </a:ext>
            </a:extLst>
          </p:cNvPr>
          <p:cNvSpPr>
            <a:spLocks noGrp="1"/>
          </p:cNvSpPr>
          <p:nvPr>
            <p:ph type="sldNum" sz="quarter" idx="12"/>
          </p:nvPr>
        </p:nvSpPr>
        <p:spPr/>
        <p:txBody>
          <a:bodyPr>
            <a:noAutofit/>
          </a:bodyPr>
          <a:lstStyle/>
          <a:p>
            <a:fld id="{DBA1B0FB-D917-4C8C-928F-313BD683BF39}" type="slidenum">
              <a:rPr lang="en-US" smtClean="0"/>
              <a:t>‹#›</a:t>
            </a:fld>
            <a:endParaRPr lang="en-US"/>
          </a:p>
        </p:txBody>
      </p:sp>
      <p:sp>
        <p:nvSpPr>
          <p:cNvPr id="17" name="Oval 16">
            <a:extLst>
              <a:ext uri="{FF2B5EF4-FFF2-40B4-BE49-F238E27FC236}">
                <a16:creationId xmlns:a16="http://schemas.microsoft.com/office/drawing/2014/main" id="{83C43C1C-00B3-40E0-B073-B8C56206D07D}"/>
              </a:ext>
              <a:ext uri="{C183D7F6-B498-43B3-948B-1728B52AA6E4}">
                <adec:decorative xmlns:adec="http://schemas.microsoft.com/office/drawing/2017/decorative" val="1"/>
              </a:ext>
            </a:extLst>
          </p:cNvPr>
          <p:cNvSpPr>
            <a:spLocks noChangeAspect="1"/>
          </p:cNvSpPr>
          <p:nvPr userDrawn="1"/>
        </p:nvSpPr>
        <p:spPr>
          <a:xfrm>
            <a:off x="5303845" y="5427212"/>
            <a:ext cx="1080000" cy="1080000"/>
          </a:xfrm>
          <a:prstGeom prst="ellipse">
            <a:avLst/>
          </a:prstGeom>
          <a:gradFill flip="none" rotWithShape="1">
            <a:gsLst>
              <a:gs pos="100000">
                <a:schemeClr val="bg2">
                  <a:lumMod val="50000"/>
                  <a:lumOff val="50000"/>
                </a:schemeClr>
              </a:gs>
              <a:gs pos="60000">
                <a:schemeClr val="bg2">
                  <a:lumMod val="100000"/>
                </a:schemeClr>
              </a:gs>
            </a:gsLst>
            <a:path path="circle">
              <a:fillToRect l="100000" b="100000"/>
            </a:path>
            <a:tileRect t="-100000" r="-100000"/>
          </a:gradFill>
          <a:ln>
            <a:noFill/>
          </a:ln>
          <a:effectLst>
            <a:innerShdw blurRad="254000" dist="127000" dir="2700000">
              <a:schemeClr val="accent1">
                <a:lumMod val="60000"/>
                <a:lumOff val="40000"/>
                <a:alpha val="40000"/>
              </a:schemeClr>
            </a:innerShdw>
            <a:softEdge rad="0"/>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Tree>
    <p:extLst>
      <p:ext uri="{BB962C8B-B14F-4D97-AF65-F5344CB8AC3E}">
        <p14:creationId xmlns:p14="http://schemas.microsoft.com/office/powerpoint/2010/main" val="72731911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577394-0A20-4CF6-9066-CFC2C1C9D30F}"/>
              </a:ext>
            </a:extLst>
          </p:cNvPr>
          <p:cNvSpPr>
            <a:spLocks noGrp="1"/>
          </p:cNvSpPr>
          <p:nvPr>
            <p:ph type="ctrTitle"/>
          </p:nvPr>
        </p:nvSpPr>
        <p:spPr>
          <a:xfrm>
            <a:off x="3359149" y="389840"/>
            <a:ext cx="8281987" cy="2954655"/>
          </a:xfrm>
        </p:spPr>
        <p:txBody>
          <a:bodyPr anchor="t" anchorCtr="0">
            <a:noAutofit/>
          </a:bodyPr>
          <a:lstStyle>
            <a:lvl1pPr algn="l">
              <a:lnSpc>
                <a:spcPct val="100000"/>
              </a:lnSpc>
              <a:defRPr sz="6400"/>
            </a:lvl1pPr>
          </a:lstStyle>
          <a:p>
            <a:r>
              <a:rPr lang="en-US"/>
              <a:t>Click to edit Master title style</a:t>
            </a:r>
            <a:endParaRPr lang="en-US" dirty="0"/>
          </a:p>
        </p:txBody>
      </p:sp>
      <p:sp>
        <p:nvSpPr>
          <p:cNvPr id="3" name="Subtitle 2">
            <a:extLst>
              <a:ext uri="{FF2B5EF4-FFF2-40B4-BE49-F238E27FC236}">
                <a16:creationId xmlns:a16="http://schemas.microsoft.com/office/drawing/2014/main" id="{3F10971F-8922-4B23-9C80-0643D7E35026}"/>
              </a:ext>
            </a:extLst>
          </p:cNvPr>
          <p:cNvSpPr>
            <a:spLocks noGrp="1"/>
          </p:cNvSpPr>
          <p:nvPr>
            <p:ph type="subTitle" idx="1"/>
          </p:nvPr>
        </p:nvSpPr>
        <p:spPr>
          <a:xfrm>
            <a:off x="3359149" y="3536951"/>
            <a:ext cx="8281989" cy="2555874"/>
          </a:xfrm>
        </p:spPr>
        <p:txBody>
          <a:bodyPr>
            <a:noAutofit/>
          </a:bodyPr>
          <a:lstStyle>
            <a:lvl1pPr marL="0" indent="0" algn="l">
              <a:lnSpc>
                <a:spcPct val="100000"/>
              </a:lnSpc>
              <a:buNone/>
              <a:defRPr sz="2400">
                <a:solidFill>
                  <a:schemeClr val="tx1">
                    <a:alpha val="80000"/>
                  </a:schemeClr>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4" name="Date Placeholder 3">
            <a:extLst>
              <a:ext uri="{FF2B5EF4-FFF2-40B4-BE49-F238E27FC236}">
                <a16:creationId xmlns:a16="http://schemas.microsoft.com/office/drawing/2014/main" id="{8B1BC074-1090-47AF-BDE8-3859BF574BA6}"/>
              </a:ext>
            </a:extLst>
          </p:cNvPr>
          <p:cNvSpPr>
            <a:spLocks noGrp="1"/>
          </p:cNvSpPr>
          <p:nvPr>
            <p:ph type="dt" sz="half" idx="10"/>
          </p:nvPr>
        </p:nvSpPr>
        <p:spPr/>
        <p:txBody>
          <a:bodyPr>
            <a:noAutofit/>
          </a:bodyPr>
          <a:lstStyle/>
          <a:p>
            <a:r>
              <a:rPr lang="en-US"/>
              <a:t>Tuesday, February 2, 20XX</a:t>
            </a:r>
            <a:endParaRPr lang="en-US" dirty="0"/>
          </a:p>
        </p:txBody>
      </p:sp>
      <p:sp>
        <p:nvSpPr>
          <p:cNvPr id="5" name="Footer Placeholder 4">
            <a:extLst>
              <a:ext uri="{FF2B5EF4-FFF2-40B4-BE49-F238E27FC236}">
                <a16:creationId xmlns:a16="http://schemas.microsoft.com/office/drawing/2014/main" id="{F1D6522F-D41A-4734-8BD1-BD6E5A37D04C}"/>
              </a:ext>
            </a:extLst>
          </p:cNvPr>
          <p:cNvSpPr>
            <a:spLocks noGrp="1"/>
          </p:cNvSpPr>
          <p:nvPr>
            <p:ph type="ftr" sz="quarter" idx="11"/>
          </p:nvPr>
        </p:nvSpPr>
        <p:spPr/>
        <p:txBody>
          <a:bodyPr>
            <a:noAutofit/>
          </a:bodyPr>
          <a:lstStyle/>
          <a:p>
            <a:r>
              <a:rPr lang="en-US"/>
              <a:t>Sample Footer Text</a:t>
            </a:r>
          </a:p>
        </p:txBody>
      </p:sp>
      <p:sp>
        <p:nvSpPr>
          <p:cNvPr id="6" name="Slide Number Placeholder 5">
            <a:extLst>
              <a:ext uri="{FF2B5EF4-FFF2-40B4-BE49-F238E27FC236}">
                <a16:creationId xmlns:a16="http://schemas.microsoft.com/office/drawing/2014/main" id="{D74D4206-406C-42A3-BBD4-44C043180931}"/>
              </a:ext>
            </a:extLst>
          </p:cNvPr>
          <p:cNvSpPr>
            <a:spLocks noGrp="1"/>
          </p:cNvSpPr>
          <p:nvPr>
            <p:ph type="sldNum" sz="quarter" idx="12"/>
          </p:nvPr>
        </p:nvSpPr>
        <p:spPr/>
        <p:txBody>
          <a:bodyPr>
            <a:noAutofit/>
          </a:bodyPr>
          <a:lstStyle/>
          <a:p>
            <a:fld id="{DBA1B0FB-D917-4C8C-928F-313BD683BF39}" type="slidenum">
              <a:rPr lang="en-US" smtClean="0"/>
              <a:t>‹#›</a:t>
            </a:fld>
            <a:endParaRPr lang="en-US"/>
          </a:p>
        </p:txBody>
      </p:sp>
      <p:sp>
        <p:nvSpPr>
          <p:cNvPr id="19" name="Freeform: Shape 18">
            <a:extLst>
              <a:ext uri="{FF2B5EF4-FFF2-40B4-BE49-F238E27FC236}">
                <a16:creationId xmlns:a16="http://schemas.microsoft.com/office/drawing/2014/main" id="{82184FF4-7029-4ED7-813A-192E60608764}"/>
              </a:ext>
            </a:extLst>
          </p:cNvPr>
          <p:cNvSpPr>
            <a:spLocks noChangeAspect="1"/>
          </p:cNvSpPr>
          <p:nvPr/>
        </p:nvSpPr>
        <p:spPr>
          <a:xfrm rot="2700000">
            <a:off x="612445" y="481888"/>
            <a:ext cx="1080000" cy="1262947"/>
          </a:xfrm>
          <a:custGeom>
            <a:avLst/>
            <a:gdLst>
              <a:gd name="connsiteX0" fmla="*/ 540000 w 1080000"/>
              <a:gd name="connsiteY0" fmla="*/ 0 h 1262947"/>
              <a:gd name="connsiteX1" fmla="*/ 1080000 w 1080000"/>
              <a:gd name="connsiteY1" fmla="*/ 931034 h 1262947"/>
              <a:gd name="connsiteX2" fmla="*/ 1064374 w 1080000"/>
              <a:gd name="connsiteY2" fmla="*/ 931034 h 1262947"/>
              <a:gd name="connsiteX3" fmla="*/ 1069029 w 1080000"/>
              <a:gd name="connsiteY3" fmla="*/ 938533 h 1262947"/>
              <a:gd name="connsiteX4" fmla="*/ 1080000 w 1080000"/>
              <a:gd name="connsiteY4" fmla="*/ 992947 h 1262947"/>
              <a:gd name="connsiteX5" fmla="*/ 540000 w 1080000"/>
              <a:gd name="connsiteY5" fmla="*/ 1262947 h 1262947"/>
              <a:gd name="connsiteX6" fmla="*/ 0 w 1080000"/>
              <a:gd name="connsiteY6" fmla="*/ 992947 h 1262947"/>
              <a:gd name="connsiteX7" fmla="*/ 10971 w 1080000"/>
              <a:gd name="connsiteY7" fmla="*/ 938533 h 1262947"/>
              <a:gd name="connsiteX8" fmla="*/ 15626 w 1080000"/>
              <a:gd name="connsiteY8" fmla="*/ 931034 h 1262947"/>
              <a:gd name="connsiteX9" fmla="*/ 0 w 1080000"/>
              <a:gd name="connsiteY9" fmla="*/ 931034 h 1262947"/>
              <a:gd name="connsiteX0" fmla="*/ 540000 w 1080000"/>
              <a:gd name="connsiteY0" fmla="*/ 0 h 1262947"/>
              <a:gd name="connsiteX1" fmla="*/ 1080000 w 1080000"/>
              <a:gd name="connsiteY1" fmla="*/ 931034 h 1262947"/>
              <a:gd name="connsiteX2" fmla="*/ 1064374 w 1080000"/>
              <a:gd name="connsiteY2" fmla="*/ 931034 h 1262947"/>
              <a:gd name="connsiteX3" fmla="*/ 1069029 w 1080000"/>
              <a:gd name="connsiteY3" fmla="*/ 938533 h 1262947"/>
              <a:gd name="connsiteX4" fmla="*/ 1080000 w 1080000"/>
              <a:gd name="connsiteY4" fmla="*/ 992947 h 1262947"/>
              <a:gd name="connsiteX5" fmla="*/ 540000 w 1080000"/>
              <a:gd name="connsiteY5" fmla="*/ 1262947 h 1262947"/>
              <a:gd name="connsiteX6" fmla="*/ 0 w 1080000"/>
              <a:gd name="connsiteY6" fmla="*/ 992947 h 1262947"/>
              <a:gd name="connsiteX7" fmla="*/ 10971 w 1080000"/>
              <a:gd name="connsiteY7" fmla="*/ 938533 h 1262947"/>
              <a:gd name="connsiteX8" fmla="*/ 15626 w 1080000"/>
              <a:gd name="connsiteY8" fmla="*/ 931034 h 1262947"/>
              <a:gd name="connsiteX9" fmla="*/ 540000 w 1080000"/>
              <a:gd name="connsiteY9" fmla="*/ 0 h 1262947"/>
              <a:gd name="connsiteX0" fmla="*/ 540000 w 1080000"/>
              <a:gd name="connsiteY0" fmla="*/ 0 h 1262947"/>
              <a:gd name="connsiteX1" fmla="*/ 1064374 w 1080000"/>
              <a:gd name="connsiteY1" fmla="*/ 931034 h 1262947"/>
              <a:gd name="connsiteX2" fmla="*/ 1069029 w 1080000"/>
              <a:gd name="connsiteY2" fmla="*/ 938533 h 1262947"/>
              <a:gd name="connsiteX3" fmla="*/ 1080000 w 1080000"/>
              <a:gd name="connsiteY3" fmla="*/ 992947 h 1262947"/>
              <a:gd name="connsiteX4" fmla="*/ 540000 w 1080000"/>
              <a:gd name="connsiteY4" fmla="*/ 1262947 h 1262947"/>
              <a:gd name="connsiteX5" fmla="*/ 0 w 1080000"/>
              <a:gd name="connsiteY5" fmla="*/ 992947 h 1262947"/>
              <a:gd name="connsiteX6" fmla="*/ 10971 w 1080000"/>
              <a:gd name="connsiteY6" fmla="*/ 938533 h 1262947"/>
              <a:gd name="connsiteX7" fmla="*/ 15626 w 1080000"/>
              <a:gd name="connsiteY7" fmla="*/ 931034 h 1262947"/>
              <a:gd name="connsiteX8" fmla="*/ 540000 w 1080000"/>
              <a:gd name="connsiteY8" fmla="*/ 0 h 12629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80000" h="1262947">
                <a:moveTo>
                  <a:pt x="540000" y="0"/>
                </a:moveTo>
                <a:lnTo>
                  <a:pt x="1064374" y="931034"/>
                </a:lnTo>
                <a:lnTo>
                  <a:pt x="1069029" y="938533"/>
                </a:lnTo>
                <a:cubicBezTo>
                  <a:pt x="1076223" y="956109"/>
                  <a:pt x="1080000" y="974307"/>
                  <a:pt x="1080000" y="992947"/>
                </a:cubicBezTo>
                <a:cubicBezTo>
                  <a:pt x="1080000" y="1142064"/>
                  <a:pt x="838234" y="1262947"/>
                  <a:pt x="540000" y="1262947"/>
                </a:cubicBezTo>
                <a:cubicBezTo>
                  <a:pt x="241766" y="1262947"/>
                  <a:pt x="0" y="1142064"/>
                  <a:pt x="0" y="992947"/>
                </a:cubicBezTo>
                <a:cubicBezTo>
                  <a:pt x="0" y="974307"/>
                  <a:pt x="3778" y="956109"/>
                  <a:pt x="10971" y="938533"/>
                </a:cubicBezTo>
                <a:lnTo>
                  <a:pt x="15626" y="931034"/>
                </a:lnTo>
                <a:lnTo>
                  <a:pt x="540000" y="0"/>
                </a:lnTo>
                <a:close/>
              </a:path>
            </a:pathLst>
          </a:custGeom>
          <a:gradFill>
            <a:gsLst>
              <a:gs pos="60000">
                <a:schemeClr val="bg2">
                  <a:lumMod val="90000"/>
                  <a:lumOff val="10000"/>
                </a:schemeClr>
              </a:gs>
              <a:gs pos="30000">
                <a:schemeClr val="bg2">
                  <a:lumMod val="90000"/>
                  <a:lumOff val="10000"/>
                </a:schemeClr>
              </a:gs>
              <a:gs pos="40000">
                <a:schemeClr val="bg2">
                  <a:lumMod val="75000"/>
                  <a:lumOff val="25000"/>
                </a:schemeClr>
              </a:gs>
              <a:gs pos="100000">
                <a:schemeClr val="bg2"/>
              </a:gs>
            </a:gsLst>
            <a:lin ang="600000" scaled="0"/>
          </a:gradFill>
          <a:ln>
            <a:noFill/>
          </a:ln>
          <a:effectLst>
            <a:innerShdw blurRad="254000" dist="101600" dir="2700000">
              <a:schemeClr val="accent1">
                <a:lumMod val="60000"/>
                <a:lumOff val="40000"/>
                <a:alpha val="40000"/>
              </a:scheme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20" name="Oval 19">
            <a:extLst>
              <a:ext uri="{FF2B5EF4-FFF2-40B4-BE49-F238E27FC236}">
                <a16:creationId xmlns:a16="http://schemas.microsoft.com/office/drawing/2014/main" id="{AAA7AB09-557C-41AD-9113-FF9F68FA1035}"/>
              </a:ext>
            </a:extLst>
          </p:cNvPr>
          <p:cNvSpPr/>
          <p:nvPr/>
        </p:nvSpPr>
        <p:spPr>
          <a:xfrm rot="8100000">
            <a:off x="626845" y="828962"/>
            <a:ext cx="540000" cy="1080000"/>
          </a:xfrm>
          <a:prstGeom prst="ellipse">
            <a:avLst/>
          </a:prstGeom>
          <a:gradFill>
            <a:gsLst>
              <a:gs pos="100000">
                <a:schemeClr val="bg2">
                  <a:lumMod val="90000"/>
                  <a:lumOff val="10000"/>
                </a:schemeClr>
              </a:gs>
              <a:gs pos="50000">
                <a:schemeClr val="bg2">
                  <a:lumMod val="95000"/>
                  <a:lumOff val="5000"/>
                </a:schemeClr>
              </a:gs>
            </a:gsLst>
            <a:lin ang="5400000" scaled="0"/>
          </a:gradFill>
          <a:ln>
            <a:noFill/>
          </a:ln>
          <a:effectLst>
            <a:innerShdw blurRad="1270000" dist="2540000">
              <a:schemeClr val="accent1">
                <a:lumMod val="60000"/>
                <a:lumOff val="40000"/>
                <a:alpha val="0"/>
              </a:scheme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25" name="Oval 24">
            <a:extLst>
              <a:ext uri="{FF2B5EF4-FFF2-40B4-BE49-F238E27FC236}">
                <a16:creationId xmlns:a16="http://schemas.microsoft.com/office/drawing/2014/main" id="{EF99ECAA-1F11-4937-BBA6-51935AB44C9D}"/>
              </a:ext>
            </a:extLst>
          </p:cNvPr>
          <p:cNvSpPr>
            <a:spLocks noChangeAspect="1"/>
          </p:cNvSpPr>
          <p:nvPr/>
        </p:nvSpPr>
        <p:spPr>
          <a:xfrm>
            <a:off x="1800802" y="2472855"/>
            <a:ext cx="360000" cy="360000"/>
          </a:xfrm>
          <a:prstGeom prst="ellipse">
            <a:avLst/>
          </a:prstGeom>
          <a:gradFill flip="none" rotWithShape="1">
            <a:gsLst>
              <a:gs pos="100000">
                <a:schemeClr val="bg2">
                  <a:lumMod val="50000"/>
                  <a:lumOff val="50000"/>
                </a:schemeClr>
              </a:gs>
              <a:gs pos="60000">
                <a:schemeClr val="bg2"/>
              </a:gs>
            </a:gsLst>
            <a:path path="circle">
              <a:fillToRect l="100000" b="100000"/>
            </a:path>
            <a:tileRect t="-100000" r="-100000"/>
          </a:gradFill>
          <a:ln>
            <a:noFill/>
          </a:ln>
          <a:effectLst>
            <a:innerShdw blurRad="127000" dist="63500" dir="2700000">
              <a:schemeClr val="accent1">
                <a:lumMod val="60000"/>
                <a:lumOff val="40000"/>
                <a:alpha val="20000"/>
              </a:schemeClr>
            </a:innerShdw>
            <a:softEdge rad="0"/>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grpSp>
        <p:nvGrpSpPr>
          <p:cNvPr id="34" name="Group 33">
            <a:extLst>
              <a:ext uri="{FF2B5EF4-FFF2-40B4-BE49-F238E27FC236}">
                <a16:creationId xmlns:a16="http://schemas.microsoft.com/office/drawing/2014/main" id="{79DE9FAB-6BBA-4CFE-B67D-77B47F01ECA4}"/>
              </a:ext>
            </a:extLst>
          </p:cNvPr>
          <p:cNvGrpSpPr/>
          <p:nvPr/>
        </p:nvGrpSpPr>
        <p:grpSpPr>
          <a:xfrm>
            <a:off x="1329952" y="4524379"/>
            <a:ext cx="1980001" cy="1363916"/>
            <a:chOff x="4879602" y="3781429"/>
            <a:chExt cx="1980001" cy="1363916"/>
          </a:xfrm>
        </p:grpSpPr>
        <p:sp>
          <p:nvSpPr>
            <p:cNvPr id="35" name="Freeform: Shape 34">
              <a:extLst>
                <a:ext uri="{FF2B5EF4-FFF2-40B4-BE49-F238E27FC236}">
                  <a16:creationId xmlns:a16="http://schemas.microsoft.com/office/drawing/2014/main" id="{79FAC916-D9BB-4794-81B4-7C47C67E850D}"/>
                </a:ext>
              </a:extLst>
            </p:cNvPr>
            <p:cNvSpPr>
              <a:spLocks noChangeAspect="1"/>
            </p:cNvSpPr>
            <p:nvPr/>
          </p:nvSpPr>
          <p:spPr>
            <a:xfrm rot="18900000" flipV="1">
              <a:off x="5005634" y="4191206"/>
              <a:ext cx="1853969" cy="926985"/>
            </a:xfrm>
            <a:custGeom>
              <a:avLst/>
              <a:gdLst>
                <a:gd name="connsiteX0" fmla="*/ 1329373 w 2658746"/>
                <a:gd name="connsiteY0" fmla="*/ 0 h 1329373"/>
                <a:gd name="connsiteX1" fmla="*/ 2658746 w 2658746"/>
                <a:gd name="connsiteY1" fmla="*/ 1329373 h 1329373"/>
                <a:gd name="connsiteX2" fmla="*/ 1994059 w 2658746"/>
                <a:gd name="connsiteY2" fmla="*/ 1329373 h 1329373"/>
                <a:gd name="connsiteX3" fmla="*/ 1329373 w 2658746"/>
                <a:gd name="connsiteY3" fmla="*/ 664687 h 1329373"/>
                <a:gd name="connsiteX4" fmla="*/ 664687 w 2658746"/>
                <a:gd name="connsiteY4" fmla="*/ 1329373 h 1329373"/>
                <a:gd name="connsiteX5" fmla="*/ 0 w 2658746"/>
                <a:gd name="connsiteY5" fmla="*/ 1329373 h 1329373"/>
                <a:gd name="connsiteX6" fmla="*/ 1329373 w 2658746"/>
                <a:gd name="connsiteY6" fmla="*/ 0 h 1329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58746" h="1329373">
                  <a:moveTo>
                    <a:pt x="1329373" y="0"/>
                  </a:moveTo>
                  <a:cubicBezTo>
                    <a:pt x="2063565" y="0"/>
                    <a:pt x="2658746" y="595181"/>
                    <a:pt x="2658746" y="1329373"/>
                  </a:cubicBezTo>
                  <a:lnTo>
                    <a:pt x="1994059" y="1329373"/>
                  </a:lnTo>
                  <a:cubicBezTo>
                    <a:pt x="1994059" y="962277"/>
                    <a:pt x="1696469" y="664687"/>
                    <a:pt x="1329373" y="664687"/>
                  </a:cubicBezTo>
                  <a:cubicBezTo>
                    <a:pt x="962277" y="664687"/>
                    <a:pt x="664687" y="962277"/>
                    <a:pt x="664687" y="1329373"/>
                  </a:cubicBezTo>
                  <a:lnTo>
                    <a:pt x="0" y="1329373"/>
                  </a:lnTo>
                  <a:cubicBezTo>
                    <a:pt x="0" y="595181"/>
                    <a:pt x="595181" y="0"/>
                    <a:pt x="1329373" y="0"/>
                  </a:cubicBezTo>
                  <a:close/>
                </a:path>
              </a:pathLst>
            </a:custGeom>
            <a:solidFill>
              <a:schemeClr val="bg2"/>
            </a:solidFill>
            <a:ln>
              <a:noFill/>
            </a:ln>
            <a:effectLst>
              <a:innerShdw blurRad="254000" dist="50800" dir="16200000">
                <a:schemeClr val="accent1">
                  <a:lumMod val="40000"/>
                  <a:lumOff val="60000"/>
                  <a:alpha val="40000"/>
                </a:scheme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a:p>
          </p:txBody>
        </p:sp>
        <p:sp>
          <p:nvSpPr>
            <p:cNvPr id="36" name="Freeform: Shape 35">
              <a:extLst>
                <a:ext uri="{FF2B5EF4-FFF2-40B4-BE49-F238E27FC236}">
                  <a16:creationId xmlns:a16="http://schemas.microsoft.com/office/drawing/2014/main" id="{B5CA2231-7A65-4D16-8400-A210CC41DB73}"/>
                </a:ext>
              </a:extLst>
            </p:cNvPr>
            <p:cNvSpPr>
              <a:spLocks noChangeAspect="1"/>
            </p:cNvSpPr>
            <p:nvPr/>
          </p:nvSpPr>
          <p:spPr>
            <a:xfrm rot="18900000" flipV="1">
              <a:off x="4957101" y="4052255"/>
              <a:ext cx="1853969" cy="1093090"/>
            </a:xfrm>
            <a:custGeom>
              <a:avLst/>
              <a:gdLst>
                <a:gd name="connsiteX0" fmla="*/ 1329373 w 2658746"/>
                <a:gd name="connsiteY0" fmla="*/ 0 h 1329373"/>
                <a:gd name="connsiteX1" fmla="*/ 2658746 w 2658746"/>
                <a:gd name="connsiteY1" fmla="*/ 1329373 h 1329373"/>
                <a:gd name="connsiteX2" fmla="*/ 1994059 w 2658746"/>
                <a:gd name="connsiteY2" fmla="*/ 1329373 h 1329373"/>
                <a:gd name="connsiteX3" fmla="*/ 1329373 w 2658746"/>
                <a:gd name="connsiteY3" fmla="*/ 664687 h 1329373"/>
                <a:gd name="connsiteX4" fmla="*/ 664687 w 2658746"/>
                <a:gd name="connsiteY4" fmla="*/ 1329373 h 1329373"/>
                <a:gd name="connsiteX5" fmla="*/ 0 w 2658746"/>
                <a:gd name="connsiteY5" fmla="*/ 1329373 h 1329373"/>
                <a:gd name="connsiteX6" fmla="*/ 1329373 w 2658746"/>
                <a:gd name="connsiteY6" fmla="*/ 0 h 1329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58746" h="1329373">
                  <a:moveTo>
                    <a:pt x="1329373" y="0"/>
                  </a:moveTo>
                  <a:cubicBezTo>
                    <a:pt x="2063565" y="0"/>
                    <a:pt x="2658746" y="595181"/>
                    <a:pt x="2658746" y="1329373"/>
                  </a:cubicBezTo>
                  <a:lnTo>
                    <a:pt x="1994059" y="1329373"/>
                  </a:lnTo>
                  <a:cubicBezTo>
                    <a:pt x="1994059" y="962277"/>
                    <a:pt x="1696469" y="664687"/>
                    <a:pt x="1329373" y="664687"/>
                  </a:cubicBezTo>
                  <a:cubicBezTo>
                    <a:pt x="962277" y="664687"/>
                    <a:pt x="664687" y="962277"/>
                    <a:pt x="664687" y="1329373"/>
                  </a:cubicBezTo>
                  <a:lnTo>
                    <a:pt x="0" y="1329373"/>
                  </a:lnTo>
                  <a:cubicBezTo>
                    <a:pt x="0" y="595181"/>
                    <a:pt x="595181" y="0"/>
                    <a:pt x="1329373" y="0"/>
                  </a:cubicBezTo>
                  <a:close/>
                </a:path>
              </a:pathLst>
            </a:custGeom>
            <a:solidFill>
              <a:schemeClr val="bg2">
                <a:lumMod val="50000"/>
                <a:lumOff val="50000"/>
                <a:alpha val="40000"/>
              </a:schemeClr>
            </a:solidFill>
            <a:ln>
              <a:noFill/>
            </a:ln>
            <a:effectLst>
              <a:softEdge rad="190500"/>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a:solidFill>
                  <a:schemeClr val="tx1"/>
                </a:solidFill>
              </a:endParaRPr>
            </a:p>
          </p:txBody>
        </p:sp>
        <p:sp>
          <p:nvSpPr>
            <p:cNvPr id="37" name="Oval 36">
              <a:extLst>
                <a:ext uri="{FF2B5EF4-FFF2-40B4-BE49-F238E27FC236}">
                  <a16:creationId xmlns:a16="http://schemas.microsoft.com/office/drawing/2014/main" id="{4B089C8C-B82B-4704-88E2-E857A5E21529}"/>
                </a:ext>
              </a:extLst>
            </p:cNvPr>
            <p:cNvSpPr/>
            <p:nvPr/>
          </p:nvSpPr>
          <p:spPr>
            <a:xfrm rot="13500000" flipV="1">
              <a:off x="6040374" y="3601683"/>
              <a:ext cx="107098" cy="466589"/>
            </a:xfrm>
            <a:prstGeom prst="ellipse">
              <a:avLst/>
            </a:prstGeom>
            <a:solidFill>
              <a:schemeClr val="bg2">
                <a:lumMod val="90000"/>
                <a:lumOff val="10000"/>
              </a:schemeClr>
            </a:solidFill>
            <a:ln>
              <a:noFill/>
            </a:ln>
            <a:effectLst>
              <a:innerShdw blurRad="63500" dist="2540000">
                <a:schemeClr val="accent1">
                  <a:lumMod val="60000"/>
                  <a:lumOff val="40000"/>
                  <a:alpha val="0"/>
                </a:scheme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38" name="Oval 37">
              <a:extLst>
                <a:ext uri="{FF2B5EF4-FFF2-40B4-BE49-F238E27FC236}">
                  <a16:creationId xmlns:a16="http://schemas.microsoft.com/office/drawing/2014/main" id="{434B90C8-5B4D-456E-AD99-80EF748FDD72}"/>
                </a:ext>
              </a:extLst>
            </p:cNvPr>
            <p:cNvSpPr/>
            <p:nvPr/>
          </p:nvSpPr>
          <p:spPr>
            <a:xfrm rot="13500000" flipV="1">
              <a:off x="5059348" y="4582709"/>
              <a:ext cx="107098" cy="466589"/>
            </a:xfrm>
            <a:prstGeom prst="ellipse">
              <a:avLst/>
            </a:prstGeom>
            <a:solidFill>
              <a:schemeClr val="bg2">
                <a:lumMod val="90000"/>
                <a:lumOff val="10000"/>
              </a:schemeClr>
            </a:solidFill>
            <a:ln>
              <a:noFill/>
            </a:ln>
            <a:effectLst>
              <a:innerShdw blurRad="63500" dist="2540000">
                <a:schemeClr val="accent1">
                  <a:lumMod val="60000"/>
                  <a:lumOff val="40000"/>
                  <a:alpha val="0"/>
                </a:scheme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grpSp>
    </p:spTree>
    <p:extLst>
      <p:ext uri="{BB962C8B-B14F-4D97-AF65-F5344CB8AC3E}">
        <p14:creationId xmlns:p14="http://schemas.microsoft.com/office/powerpoint/2010/main" val="341236291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2" name="Oval 21">
            <a:extLst>
              <a:ext uri="{FF2B5EF4-FFF2-40B4-BE49-F238E27FC236}">
                <a16:creationId xmlns:a16="http://schemas.microsoft.com/office/drawing/2014/main" id="{94729CA3-91C4-4A89-9448-A2F0E409177A}"/>
              </a:ext>
            </a:extLst>
          </p:cNvPr>
          <p:cNvSpPr>
            <a:spLocks noChangeAspect="1"/>
          </p:cNvSpPr>
          <p:nvPr/>
        </p:nvSpPr>
        <p:spPr>
          <a:xfrm>
            <a:off x="11069864" y="333375"/>
            <a:ext cx="360000" cy="360000"/>
          </a:xfrm>
          <a:prstGeom prst="ellipse">
            <a:avLst/>
          </a:prstGeom>
          <a:gradFill flip="none" rotWithShape="1">
            <a:gsLst>
              <a:gs pos="100000">
                <a:schemeClr val="bg2">
                  <a:lumMod val="50000"/>
                  <a:lumOff val="50000"/>
                </a:schemeClr>
              </a:gs>
              <a:gs pos="60000">
                <a:schemeClr val="bg2"/>
              </a:gs>
            </a:gsLst>
            <a:path path="circle">
              <a:fillToRect l="100000" b="100000"/>
            </a:path>
            <a:tileRect t="-100000" r="-100000"/>
          </a:gradFill>
          <a:ln>
            <a:noFill/>
          </a:ln>
          <a:effectLst>
            <a:innerShdw blurRad="127000" dist="63500" dir="2700000">
              <a:schemeClr val="accent1">
                <a:lumMod val="60000"/>
                <a:lumOff val="40000"/>
                <a:alpha val="20000"/>
              </a:schemeClr>
            </a:innerShdw>
            <a:softEdge rad="0"/>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grpSp>
        <p:nvGrpSpPr>
          <p:cNvPr id="13" name="Group 12">
            <a:extLst>
              <a:ext uri="{FF2B5EF4-FFF2-40B4-BE49-F238E27FC236}">
                <a16:creationId xmlns:a16="http://schemas.microsoft.com/office/drawing/2014/main" id="{168347B7-45FA-4A01-924D-DC385B720B3E}"/>
              </a:ext>
            </a:extLst>
          </p:cNvPr>
          <p:cNvGrpSpPr/>
          <p:nvPr/>
        </p:nvGrpSpPr>
        <p:grpSpPr>
          <a:xfrm>
            <a:off x="331786" y="5528198"/>
            <a:ext cx="631474" cy="667800"/>
            <a:chOff x="2994153" y="1378666"/>
            <a:chExt cx="631474" cy="667800"/>
          </a:xfrm>
        </p:grpSpPr>
        <p:sp>
          <p:nvSpPr>
            <p:cNvPr id="20" name="Freeform: Shape 19">
              <a:extLst>
                <a:ext uri="{FF2B5EF4-FFF2-40B4-BE49-F238E27FC236}">
                  <a16:creationId xmlns:a16="http://schemas.microsoft.com/office/drawing/2014/main" id="{31167DA1-25D1-4E60-A62E-42B6F56A96EC}"/>
                </a:ext>
              </a:extLst>
            </p:cNvPr>
            <p:cNvSpPr>
              <a:spLocks noChangeAspect="1"/>
            </p:cNvSpPr>
            <p:nvPr/>
          </p:nvSpPr>
          <p:spPr>
            <a:xfrm rot="2700000">
              <a:off x="3039890" y="1332929"/>
              <a:ext cx="540000" cy="631474"/>
            </a:xfrm>
            <a:custGeom>
              <a:avLst/>
              <a:gdLst>
                <a:gd name="connsiteX0" fmla="*/ 540000 w 1080000"/>
                <a:gd name="connsiteY0" fmla="*/ 0 h 1262947"/>
                <a:gd name="connsiteX1" fmla="*/ 1080000 w 1080000"/>
                <a:gd name="connsiteY1" fmla="*/ 931034 h 1262947"/>
                <a:gd name="connsiteX2" fmla="*/ 1064374 w 1080000"/>
                <a:gd name="connsiteY2" fmla="*/ 931034 h 1262947"/>
                <a:gd name="connsiteX3" fmla="*/ 1069029 w 1080000"/>
                <a:gd name="connsiteY3" fmla="*/ 938533 h 1262947"/>
                <a:gd name="connsiteX4" fmla="*/ 1080000 w 1080000"/>
                <a:gd name="connsiteY4" fmla="*/ 992947 h 1262947"/>
                <a:gd name="connsiteX5" fmla="*/ 540000 w 1080000"/>
                <a:gd name="connsiteY5" fmla="*/ 1262947 h 1262947"/>
                <a:gd name="connsiteX6" fmla="*/ 0 w 1080000"/>
                <a:gd name="connsiteY6" fmla="*/ 992947 h 1262947"/>
                <a:gd name="connsiteX7" fmla="*/ 10971 w 1080000"/>
                <a:gd name="connsiteY7" fmla="*/ 938533 h 1262947"/>
                <a:gd name="connsiteX8" fmla="*/ 15626 w 1080000"/>
                <a:gd name="connsiteY8" fmla="*/ 931034 h 1262947"/>
                <a:gd name="connsiteX9" fmla="*/ 0 w 1080000"/>
                <a:gd name="connsiteY9" fmla="*/ 931034 h 1262947"/>
                <a:gd name="connsiteX0" fmla="*/ 540000 w 1080000"/>
                <a:gd name="connsiteY0" fmla="*/ 0 h 1262947"/>
                <a:gd name="connsiteX1" fmla="*/ 1080000 w 1080000"/>
                <a:gd name="connsiteY1" fmla="*/ 931034 h 1262947"/>
                <a:gd name="connsiteX2" fmla="*/ 1064374 w 1080000"/>
                <a:gd name="connsiteY2" fmla="*/ 931034 h 1262947"/>
                <a:gd name="connsiteX3" fmla="*/ 1069029 w 1080000"/>
                <a:gd name="connsiteY3" fmla="*/ 938533 h 1262947"/>
                <a:gd name="connsiteX4" fmla="*/ 1080000 w 1080000"/>
                <a:gd name="connsiteY4" fmla="*/ 992947 h 1262947"/>
                <a:gd name="connsiteX5" fmla="*/ 540000 w 1080000"/>
                <a:gd name="connsiteY5" fmla="*/ 1262947 h 1262947"/>
                <a:gd name="connsiteX6" fmla="*/ 0 w 1080000"/>
                <a:gd name="connsiteY6" fmla="*/ 992947 h 1262947"/>
                <a:gd name="connsiteX7" fmla="*/ 10971 w 1080000"/>
                <a:gd name="connsiteY7" fmla="*/ 938533 h 1262947"/>
                <a:gd name="connsiteX8" fmla="*/ 15626 w 1080000"/>
                <a:gd name="connsiteY8" fmla="*/ 931034 h 1262947"/>
                <a:gd name="connsiteX9" fmla="*/ 540000 w 1080000"/>
                <a:gd name="connsiteY9" fmla="*/ 0 h 1262947"/>
                <a:gd name="connsiteX0" fmla="*/ 540000 w 1080000"/>
                <a:gd name="connsiteY0" fmla="*/ 0 h 1262947"/>
                <a:gd name="connsiteX1" fmla="*/ 1064374 w 1080000"/>
                <a:gd name="connsiteY1" fmla="*/ 931034 h 1262947"/>
                <a:gd name="connsiteX2" fmla="*/ 1069029 w 1080000"/>
                <a:gd name="connsiteY2" fmla="*/ 938533 h 1262947"/>
                <a:gd name="connsiteX3" fmla="*/ 1080000 w 1080000"/>
                <a:gd name="connsiteY3" fmla="*/ 992947 h 1262947"/>
                <a:gd name="connsiteX4" fmla="*/ 540000 w 1080000"/>
                <a:gd name="connsiteY4" fmla="*/ 1262947 h 1262947"/>
                <a:gd name="connsiteX5" fmla="*/ 0 w 1080000"/>
                <a:gd name="connsiteY5" fmla="*/ 992947 h 1262947"/>
                <a:gd name="connsiteX6" fmla="*/ 10971 w 1080000"/>
                <a:gd name="connsiteY6" fmla="*/ 938533 h 1262947"/>
                <a:gd name="connsiteX7" fmla="*/ 15626 w 1080000"/>
                <a:gd name="connsiteY7" fmla="*/ 931034 h 1262947"/>
                <a:gd name="connsiteX8" fmla="*/ 540000 w 1080000"/>
                <a:gd name="connsiteY8" fmla="*/ 0 h 12629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80000" h="1262947">
                  <a:moveTo>
                    <a:pt x="540000" y="0"/>
                  </a:moveTo>
                  <a:lnTo>
                    <a:pt x="1064374" y="931034"/>
                  </a:lnTo>
                  <a:lnTo>
                    <a:pt x="1069029" y="938533"/>
                  </a:lnTo>
                  <a:cubicBezTo>
                    <a:pt x="1076223" y="956109"/>
                    <a:pt x="1080000" y="974307"/>
                    <a:pt x="1080000" y="992947"/>
                  </a:cubicBezTo>
                  <a:cubicBezTo>
                    <a:pt x="1080000" y="1142064"/>
                    <a:pt x="838234" y="1262947"/>
                    <a:pt x="540000" y="1262947"/>
                  </a:cubicBezTo>
                  <a:cubicBezTo>
                    <a:pt x="241766" y="1262947"/>
                    <a:pt x="0" y="1142064"/>
                    <a:pt x="0" y="992947"/>
                  </a:cubicBezTo>
                  <a:cubicBezTo>
                    <a:pt x="0" y="974307"/>
                    <a:pt x="3778" y="956109"/>
                    <a:pt x="10971" y="938533"/>
                  </a:cubicBezTo>
                  <a:lnTo>
                    <a:pt x="15626" y="931034"/>
                  </a:lnTo>
                  <a:lnTo>
                    <a:pt x="540000" y="0"/>
                  </a:lnTo>
                  <a:close/>
                </a:path>
              </a:pathLst>
            </a:custGeom>
            <a:gradFill>
              <a:gsLst>
                <a:gs pos="60000">
                  <a:schemeClr val="bg2">
                    <a:lumMod val="90000"/>
                    <a:lumOff val="10000"/>
                  </a:schemeClr>
                </a:gs>
                <a:gs pos="30000">
                  <a:schemeClr val="bg2">
                    <a:lumMod val="90000"/>
                    <a:lumOff val="10000"/>
                  </a:schemeClr>
                </a:gs>
                <a:gs pos="40000">
                  <a:schemeClr val="bg2">
                    <a:lumMod val="75000"/>
                    <a:lumOff val="25000"/>
                  </a:schemeClr>
                </a:gs>
                <a:gs pos="100000">
                  <a:schemeClr val="bg2"/>
                </a:gs>
              </a:gsLst>
              <a:lin ang="600000" scaled="0"/>
            </a:gradFill>
            <a:ln>
              <a:noFill/>
            </a:ln>
            <a:effectLst>
              <a:innerShdw blurRad="254000" dist="101600" dir="2700000">
                <a:schemeClr val="accent1">
                  <a:lumMod val="60000"/>
                  <a:lumOff val="40000"/>
                  <a:alpha val="20000"/>
                </a:scheme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21" name="Oval 20">
              <a:extLst>
                <a:ext uri="{FF2B5EF4-FFF2-40B4-BE49-F238E27FC236}">
                  <a16:creationId xmlns:a16="http://schemas.microsoft.com/office/drawing/2014/main" id="{6B7B7215-A661-477E-91D0-CDBE5564D2B9}"/>
                </a:ext>
              </a:extLst>
            </p:cNvPr>
            <p:cNvSpPr/>
            <p:nvPr/>
          </p:nvSpPr>
          <p:spPr>
            <a:xfrm rot="8100000">
              <a:off x="3047090" y="1506466"/>
              <a:ext cx="270000" cy="540000"/>
            </a:xfrm>
            <a:prstGeom prst="ellipse">
              <a:avLst/>
            </a:prstGeom>
            <a:gradFill>
              <a:gsLst>
                <a:gs pos="100000">
                  <a:schemeClr val="bg2">
                    <a:lumMod val="90000"/>
                    <a:lumOff val="10000"/>
                  </a:schemeClr>
                </a:gs>
                <a:gs pos="50000">
                  <a:schemeClr val="bg2">
                    <a:lumMod val="95000"/>
                    <a:lumOff val="5000"/>
                  </a:schemeClr>
                </a:gs>
              </a:gsLst>
              <a:lin ang="5400000" scaled="0"/>
            </a:gradFill>
            <a:ln>
              <a:noFill/>
            </a:ln>
            <a:effectLst>
              <a:innerShdw blurRad="1270000" dist="2540000">
                <a:schemeClr val="accent1">
                  <a:lumMod val="60000"/>
                  <a:lumOff val="40000"/>
                  <a:alpha val="0"/>
                </a:scheme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grpSp>
      <p:sp>
        <p:nvSpPr>
          <p:cNvPr id="2" name="Title 1">
            <a:extLst>
              <a:ext uri="{FF2B5EF4-FFF2-40B4-BE49-F238E27FC236}">
                <a16:creationId xmlns:a16="http://schemas.microsoft.com/office/drawing/2014/main" id="{8978E540-142B-4A82-9C3F-E61BC190AEED}"/>
              </a:ext>
            </a:extLst>
          </p:cNvPr>
          <p:cNvSpPr>
            <a:spLocks noGrp="1"/>
          </p:cNvSpPr>
          <p:nvPr>
            <p:ph type="title"/>
          </p:nvPr>
        </p:nvSpPr>
        <p:spPr>
          <a:xfrm>
            <a:off x="550863" y="549275"/>
            <a:ext cx="11090274" cy="1332000"/>
          </a:xfrm>
        </p:spPr>
        <p:txBody>
          <a:bodyPr>
            <a:noAutofit/>
          </a:bodyPr>
          <a:lstStyle>
            <a:lvl1pPr>
              <a:lnSpc>
                <a:spcPct val="100000"/>
              </a:lnSpc>
              <a:defRPr/>
            </a:lvl1pPr>
          </a:lstStyle>
          <a:p>
            <a:r>
              <a:rPr lang="en-US"/>
              <a:t>Click to edit Master title style</a:t>
            </a:r>
            <a:endParaRPr lang="en-US" dirty="0"/>
          </a:p>
        </p:txBody>
      </p:sp>
      <p:sp>
        <p:nvSpPr>
          <p:cNvPr id="3" name="Content Placeholder 2">
            <a:extLst>
              <a:ext uri="{FF2B5EF4-FFF2-40B4-BE49-F238E27FC236}">
                <a16:creationId xmlns:a16="http://schemas.microsoft.com/office/drawing/2014/main" id="{02C6BF36-D4F5-4363-B440-BDAE50BBD4B6}"/>
              </a:ext>
            </a:extLst>
          </p:cNvPr>
          <p:cNvSpPr>
            <a:spLocks noGrp="1"/>
          </p:cNvSpPr>
          <p:nvPr>
            <p:ph sz="half" idx="1"/>
          </p:nvPr>
        </p:nvSpPr>
        <p:spPr>
          <a:xfrm>
            <a:off x="550862" y="2097175"/>
            <a:ext cx="5435600" cy="3995650"/>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a:extLst>
              <a:ext uri="{FF2B5EF4-FFF2-40B4-BE49-F238E27FC236}">
                <a16:creationId xmlns:a16="http://schemas.microsoft.com/office/drawing/2014/main" id="{F8362910-87AA-4E67-992D-8D4822FD89FE}"/>
              </a:ext>
            </a:extLst>
          </p:cNvPr>
          <p:cNvSpPr>
            <a:spLocks noGrp="1"/>
          </p:cNvSpPr>
          <p:nvPr>
            <p:ph sz="half" idx="2"/>
          </p:nvPr>
        </p:nvSpPr>
        <p:spPr>
          <a:xfrm>
            <a:off x="6205538" y="2097175"/>
            <a:ext cx="5435600" cy="3995650"/>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a:extLst>
              <a:ext uri="{FF2B5EF4-FFF2-40B4-BE49-F238E27FC236}">
                <a16:creationId xmlns:a16="http://schemas.microsoft.com/office/drawing/2014/main" id="{BB99A8AF-0998-4613-B1D8-C14ECBFFDF67}"/>
              </a:ext>
            </a:extLst>
          </p:cNvPr>
          <p:cNvSpPr>
            <a:spLocks noGrp="1"/>
          </p:cNvSpPr>
          <p:nvPr>
            <p:ph type="dt" sz="half" idx="10"/>
          </p:nvPr>
        </p:nvSpPr>
        <p:spPr/>
        <p:txBody>
          <a:bodyPr>
            <a:noAutofit/>
          </a:bodyPr>
          <a:lstStyle/>
          <a:p>
            <a:r>
              <a:rPr lang="en-US"/>
              <a:t>Tuesday, February 2, 20XX</a:t>
            </a:r>
          </a:p>
        </p:txBody>
      </p:sp>
      <p:sp>
        <p:nvSpPr>
          <p:cNvPr id="6" name="Footer Placeholder 5">
            <a:extLst>
              <a:ext uri="{FF2B5EF4-FFF2-40B4-BE49-F238E27FC236}">
                <a16:creationId xmlns:a16="http://schemas.microsoft.com/office/drawing/2014/main" id="{66E44EAA-B8A9-4428-A9DF-1174DA940990}"/>
              </a:ext>
            </a:extLst>
          </p:cNvPr>
          <p:cNvSpPr>
            <a:spLocks noGrp="1"/>
          </p:cNvSpPr>
          <p:nvPr>
            <p:ph type="ftr" sz="quarter" idx="11"/>
          </p:nvPr>
        </p:nvSpPr>
        <p:spPr/>
        <p:txBody>
          <a:bodyPr>
            <a:noAutofit/>
          </a:bodyPr>
          <a:lstStyle/>
          <a:p>
            <a:r>
              <a:rPr lang="en-US"/>
              <a:t>Sample Footer Text</a:t>
            </a:r>
          </a:p>
        </p:txBody>
      </p:sp>
      <p:sp>
        <p:nvSpPr>
          <p:cNvPr id="7" name="Slide Number Placeholder 6">
            <a:extLst>
              <a:ext uri="{FF2B5EF4-FFF2-40B4-BE49-F238E27FC236}">
                <a16:creationId xmlns:a16="http://schemas.microsoft.com/office/drawing/2014/main" id="{19E5C381-C899-4BF9-B584-2D78074D1CB2}"/>
              </a:ext>
            </a:extLst>
          </p:cNvPr>
          <p:cNvSpPr>
            <a:spLocks noGrp="1"/>
          </p:cNvSpPr>
          <p:nvPr>
            <p:ph type="sldNum" sz="quarter" idx="12"/>
          </p:nvPr>
        </p:nvSpPr>
        <p:spPr/>
        <p:txBody>
          <a:bodyPr>
            <a:noAutofit/>
          </a:bodyPr>
          <a:lstStyle/>
          <a:p>
            <a:fld id="{DBA1B0FB-D917-4C8C-928F-313BD683BF39}" type="slidenum">
              <a:rPr lang="en-US" smtClean="0"/>
              <a:t>‹#›</a:t>
            </a:fld>
            <a:endParaRPr lang="en-US"/>
          </a:p>
        </p:txBody>
      </p:sp>
    </p:spTree>
    <p:extLst>
      <p:ext uri="{BB962C8B-B14F-4D97-AF65-F5344CB8AC3E}">
        <p14:creationId xmlns:p14="http://schemas.microsoft.com/office/powerpoint/2010/main" val="361716504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B81B449-7B97-41DC-B23F-65EDCBD316A6}"/>
              </a:ext>
            </a:extLst>
          </p:cNvPr>
          <p:cNvSpPr>
            <a:spLocks noGrp="1"/>
          </p:cNvSpPr>
          <p:nvPr>
            <p:ph type="dt" sz="half" idx="10"/>
          </p:nvPr>
        </p:nvSpPr>
        <p:spPr/>
        <p:txBody>
          <a:bodyPr>
            <a:noAutofit/>
          </a:bodyPr>
          <a:lstStyle/>
          <a:p>
            <a:r>
              <a:rPr lang="en-US"/>
              <a:t>Tuesday, February 2, 20XX</a:t>
            </a:r>
          </a:p>
        </p:txBody>
      </p:sp>
      <p:sp>
        <p:nvSpPr>
          <p:cNvPr id="3" name="Footer Placeholder 2">
            <a:extLst>
              <a:ext uri="{FF2B5EF4-FFF2-40B4-BE49-F238E27FC236}">
                <a16:creationId xmlns:a16="http://schemas.microsoft.com/office/drawing/2014/main" id="{7C6B46D5-337B-4906-8412-4EEA3884FA7E}"/>
              </a:ext>
            </a:extLst>
          </p:cNvPr>
          <p:cNvSpPr>
            <a:spLocks noGrp="1"/>
          </p:cNvSpPr>
          <p:nvPr>
            <p:ph type="ftr" sz="quarter" idx="11"/>
          </p:nvPr>
        </p:nvSpPr>
        <p:spPr/>
        <p:txBody>
          <a:bodyPr>
            <a:noAutofit/>
          </a:bodyPr>
          <a:lstStyle/>
          <a:p>
            <a:r>
              <a:rPr lang="en-US"/>
              <a:t>Sample Footer Text</a:t>
            </a:r>
          </a:p>
        </p:txBody>
      </p:sp>
      <p:sp>
        <p:nvSpPr>
          <p:cNvPr id="4" name="Slide Number Placeholder 3">
            <a:extLst>
              <a:ext uri="{FF2B5EF4-FFF2-40B4-BE49-F238E27FC236}">
                <a16:creationId xmlns:a16="http://schemas.microsoft.com/office/drawing/2014/main" id="{E436F230-C9A7-407A-B923-873839C8D8A0}"/>
              </a:ext>
            </a:extLst>
          </p:cNvPr>
          <p:cNvSpPr>
            <a:spLocks noGrp="1"/>
          </p:cNvSpPr>
          <p:nvPr>
            <p:ph type="sldNum" sz="quarter" idx="12"/>
          </p:nvPr>
        </p:nvSpPr>
        <p:spPr/>
        <p:txBody>
          <a:bodyPr>
            <a:noAutofit/>
          </a:bodyPr>
          <a:lstStyle/>
          <a:p>
            <a:fld id="{DBA1B0FB-D917-4C8C-928F-313BD683BF39}" type="slidenum">
              <a:rPr lang="en-US" smtClean="0"/>
              <a:t>‹#›</a:t>
            </a:fld>
            <a:endParaRPr lang="en-US"/>
          </a:p>
        </p:txBody>
      </p:sp>
    </p:spTree>
    <p:extLst>
      <p:ext uri="{BB962C8B-B14F-4D97-AF65-F5344CB8AC3E}">
        <p14:creationId xmlns:p14="http://schemas.microsoft.com/office/powerpoint/2010/main" val="385833253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pSp>
        <p:nvGrpSpPr>
          <p:cNvPr id="8" name="Group 7">
            <a:extLst>
              <a:ext uri="{FF2B5EF4-FFF2-40B4-BE49-F238E27FC236}">
                <a16:creationId xmlns:a16="http://schemas.microsoft.com/office/drawing/2014/main" id="{778B0BE9-88B0-4883-9BA9-CD594C400EC1}"/>
              </a:ext>
            </a:extLst>
          </p:cNvPr>
          <p:cNvGrpSpPr/>
          <p:nvPr/>
        </p:nvGrpSpPr>
        <p:grpSpPr>
          <a:xfrm>
            <a:off x="4949631" y="5111861"/>
            <a:ext cx="1262947" cy="1335600"/>
            <a:chOff x="2678417" y="2427951"/>
            <a:chExt cx="1262947" cy="1335600"/>
          </a:xfrm>
        </p:grpSpPr>
        <p:sp>
          <p:nvSpPr>
            <p:cNvPr id="11" name="Freeform: Shape 10">
              <a:extLst>
                <a:ext uri="{FF2B5EF4-FFF2-40B4-BE49-F238E27FC236}">
                  <a16:creationId xmlns:a16="http://schemas.microsoft.com/office/drawing/2014/main" id="{C59DCBF3-7AFA-4CD1-A918-BC6DDE674E6C}"/>
                </a:ext>
              </a:extLst>
            </p:cNvPr>
            <p:cNvSpPr>
              <a:spLocks noChangeAspect="1"/>
            </p:cNvSpPr>
            <p:nvPr/>
          </p:nvSpPr>
          <p:spPr>
            <a:xfrm rot="2700000">
              <a:off x="2769891" y="2336477"/>
              <a:ext cx="1080000" cy="1262947"/>
            </a:xfrm>
            <a:custGeom>
              <a:avLst/>
              <a:gdLst>
                <a:gd name="connsiteX0" fmla="*/ 540000 w 1080000"/>
                <a:gd name="connsiteY0" fmla="*/ 0 h 1262947"/>
                <a:gd name="connsiteX1" fmla="*/ 1080000 w 1080000"/>
                <a:gd name="connsiteY1" fmla="*/ 931034 h 1262947"/>
                <a:gd name="connsiteX2" fmla="*/ 1064374 w 1080000"/>
                <a:gd name="connsiteY2" fmla="*/ 931034 h 1262947"/>
                <a:gd name="connsiteX3" fmla="*/ 1069029 w 1080000"/>
                <a:gd name="connsiteY3" fmla="*/ 938533 h 1262947"/>
                <a:gd name="connsiteX4" fmla="*/ 1080000 w 1080000"/>
                <a:gd name="connsiteY4" fmla="*/ 992947 h 1262947"/>
                <a:gd name="connsiteX5" fmla="*/ 540000 w 1080000"/>
                <a:gd name="connsiteY5" fmla="*/ 1262947 h 1262947"/>
                <a:gd name="connsiteX6" fmla="*/ 0 w 1080000"/>
                <a:gd name="connsiteY6" fmla="*/ 992947 h 1262947"/>
                <a:gd name="connsiteX7" fmla="*/ 10971 w 1080000"/>
                <a:gd name="connsiteY7" fmla="*/ 938533 h 1262947"/>
                <a:gd name="connsiteX8" fmla="*/ 15626 w 1080000"/>
                <a:gd name="connsiteY8" fmla="*/ 931034 h 1262947"/>
                <a:gd name="connsiteX9" fmla="*/ 0 w 1080000"/>
                <a:gd name="connsiteY9" fmla="*/ 931034 h 1262947"/>
                <a:gd name="connsiteX0" fmla="*/ 540000 w 1080000"/>
                <a:gd name="connsiteY0" fmla="*/ 0 h 1262947"/>
                <a:gd name="connsiteX1" fmla="*/ 1080000 w 1080000"/>
                <a:gd name="connsiteY1" fmla="*/ 931034 h 1262947"/>
                <a:gd name="connsiteX2" fmla="*/ 1064374 w 1080000"/>
                <a:gd name="connsiteY2" fmla="*/ 931034 h 1262947"/>
                <a:gd name="connsiteX3" fmla="*/ 1069029 w 1080000"/>
                <a:gd name="connsiteY3" fmla="*/ 938533 h 1262947"/>
                <a:gd name="connsiteX4" fmla="*/ 1080000 w 1080000"/>
                <a:gd name="connsiteY4" fmla="*/ 992947 h 1262947"/>
                <a:gd name="connsiteX5" fmla="*/ 540000 w 1080000"/>
                <a:gd name="connsiteY5" fmla="*/ 1262947 h 1262947"/>
                <a:gd name="connsiteX6" fmla="*/ 0 w 1080000"/>
                <a:gd name="connsiteY6" fmla="*/ 992947 h 1262947"/>
                <a:gd name="connsiteX7" fmla="*/ 10971 w 1080000"/>
                <a:gd name="connsiteY7" fmla="*/ 938533 h 1262947"/>
                <a:gd name="connsiteX8" fmla="*/ 15626 w 1080000"/>
                <a:gd name="connsiteY8" fmla="*/ 931034 h 1262947"/>
                <a:gd name="connsiteX9" fmla="*/ 540000 w 1080000"/>
                <a:gd name="connsiteY9" fmla="*/ 0 h 1262947"/>
                <a:gd name="connsiteX0" fmla="*/ 540000 w 1080000"/>
                <a:gd name="connsiteY0" fmla="*/ 0 h 1262947"/>
                <a:gd name="connsiteX1" fmla="*/ 1064374 w 1080000"/>
                <a:gd name="connsiteY1" fmla="*/ 931034 h 1262947"/>
                <a:gd name="connsiteX2" fmla="*/ 1069029 w 1080000"/>
                <a:gd name="connsiteY2" fmla="*/ 938533 h 1262947"/>
                <a:gd name="connsiteX3" fmla="*/ 1080000 w 1080000"/>
                <a:gd name="connsiteY3" fmla="*/ 992947 h 1262947"/>
                <a:gd name="connsiteX4" fmla="*/ 540000 w 1080000"/>
                <a:gd name="connsiteY4" fmla="*/ 1262947 h 1262947"/>
                <a:gd name="connsiteX5" fmla="*/ 0 w 1080000"/>
                <a:gd name="connsiteY5" fmla="*/ 992947 h 1262947"/>
                <a:gd name="connsiteX6" fmla="*/ 10971 w 1080000"/>
                <a:gd name="connsiteY6" fmla="*/ 938533 h 1262947"/>
                <a:gd name="connsiteX7" fmla="*/ 15626 w 1080000"/>
                <a:gd name="connsiteY7" fmla="*/ 931034 h 1262947"/>
                <a:gd name="connsiteX8" fmla="*/ 540000 w 1080000"/>
                <a:gd name="connsiteY8" fmla="*/ 0 h 12629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80000" h="1262947">
                  <a:moveTo>
                    <a:pt x="540000" y="0"/>
                  </a:moveTo>
                  <a:lnTo>
                    <a:pt x="1064374" y="931034"/>
                  </a:lnTo>
                  <a:lnTo>
                    <a:pt x="1069029" y="938533"/>
                  </a:lnTo>
                  <a:cubicBezTo>
                    <a:pt x="1076223" y="956109"/>
                    <a:pt x="1080000" y="974307"/>
                    <a:pt x="1080000" y="992947"/>
                  </a:cubicBezTo>
                  <a:cubicBezTo>
                    <a:pt x="1080000" y="1142064"/>
                    <a:pt x="838234" y="1262947"/>
                    <a:pt x="540000" y="1262947"/>
                  </a:cubicBezTo>
                  <a:cubicBezTo>
                    <a:pt x="241766" y="1262947"/>
                    <a:pt x="0" y="1142064"/>
                    <a:pt x="0" y="992947"/>
                  </a:cubicBezTo>
                  <a:cubicBezTo>
                    <a:pt x="0" y="974307"/>
                    <a:pt x="3778" y="956109"/>
                    <a:pt x="10971" y="938533"/>
                  </a:cubicBezTo>
                  <a:lnTo>
                    <a:pt x="15626" y="931034"/>
                  </a:lnTo>
                  <a:lnTo>
                    <a:pt x="540000" y="0"/>
                  </a:lnTo>
                  <a:close/>
                </a:path>
              </a:pathLst>
            </a:custGeom>
            <a:gradFill>
              <a:gsLst>
                <a:gs pos="60000">
                  <a:schemeClr val="bg2">
                    <a:lumMod val="90000"/>
                    <a:lumOff val="10000"/>
                  </a:schemeClr>
                </a:gs>
                <a:gs pos="30000">
                  <a:schemeClr val="bg2">
                    <a:lumMod val="90000"/>
                    <a:lumOff val="10000"/>
                  </a:schemeClr>
                </a:gs>
                <a:gs pos="40000">
                  <a:schemeClr val="bg2">
                    <a:lumMod val="75000"/>
                    <a:lumOff val="25000"/>
                  </a:schemeClr>
                </a:gs>
                <a:gs pos="100000">
                  <a:schemeClr val="bg2"/>
                </a:gs>
              </a:gsLst>
              <a:lin ang="600000" scaled="0"/>
            </a:gradFill>
            <a:ln>
              <a:noFill/>
            </a:ln>
            <a:effectLst>
              <a:innerShdw blurRad="254000" dist="101600" dir="2700000">
                <a:schemeClr val="accent1">
                  <a:lumMod val="60000"/>
                  <a:lumOff val="40000"/>
                  <a:alpha val="40000"/>
                </a:scheme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2" name="Oval 11">
              <a:extLst>
                <a:ext uri="{FF2B5EF4-FFF2-40B4-BE49-F238E27FC236}">
                  <a16:creationId xmlns:a16="http://schemas.microsoft.com/office/drawing/2014/main" id="{06964A02-96E1-4654-9187-DDDE7409F75B}"/>
                </a:ext>
              </a:extLst>
            </p:cNvPr>
            <p:cNvSpPr/>
            <p:nvPr/>
          </p:nvSpPr>
          <p:spPr>
            <a:xfrm rot="8100000">
              <a:off x="2784291" y="2683551"/>
              <a:ext cx="540000" cy="1080000"/>
            </a:xfrm>
            <a:prstGeom prst="ellipse">
              <a:avLst/>
            </a:prstGeom>
            <a:gradFill>
              <a:gsLst>
                <a:gs pos="100000">
                  <a:schemeClr val="bg2">
                    <a:lumMod val="90000"/>
                    <a:lumOff val="10000"/>
                  </a:schemeClr>
                </a:gs>
                <a:gs pos="50000">
                  <a:schemeClr val="bg2">
                    <a:lumMod val="95000"/>
                    <a:lumOff val="5000"/>
                  </a:schemeClr>
                </a:gs>
              </a:gsLst>
              <a:lin ang="5400000" scaled="0"/>
            </a:gradFill>
            <a:ln>
              <a:noFill/>
            </a:ln>
            <a:effectLst>
              <a:innerShdw blurRad="1270000" dist="2540000">
                <a:schemeClr val="accent1">
                  <a:lumMod val="60000"/>
                  <a:lumOff val="40000"/>
                  <a:alpha val="0"/>
                </a:scheme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grpSp>
      <p:sp>
        <p:nvSpPr>
          <p:cNvPr id="2" name="Title 1">
            <a:extLst>
              <a:ext uri="{FF2B5EF4-FFF2-40B4-BE49-F238E27FC236}">
                <a16:creationId xmlns:a16="http://schemas.microsoft.com/office/drawing/2014/main" id="{BF3FF76C-A012-4CDA-8AE7-E9413955716A}"/>
              </a:ext>
            </a:extLst>
          </p:cNvPr>
          <p:cNvSpPr>
            <a:spLocks noGrp="1"/>
          </p:cNvSpPr>
          <p:nvPr>
            <p:ph type="title"/>
          </p:nvPr>
        </p:nvSpPr>
        <p:spPr>
          <a:xfrm>
            <a:off x="550863" y="549275"/>
            <a:ext cx="11090275" cy="984885"/>
          </a:xfrm>
        </p:spPr>
        <p:txBody>
          <a:bodyPr anchor="t">
            <a:noAutofit/>
          </a:bodyPr>
          <a:lstStyle>
            <a:lvl1pPr>
              <a:lnSpc>
                <a:spcPct val="100000"/>
              </a:lnSpc>
              <a:defRPr sz="3200"/>
            </a:lvl1pPr>
          </a:lstStyle>
          <a:p>
            <a:r>
              <a:rPr lang="en-US"/>
              <a:t>Click to edit Master title style</a:t>
            </a:r>
            <a:endParaRPr lang="en-US" dirty="0"/>
          </a:p>
        </p:txBody>
      </p:sp>
      <p:sp>
        <p:nvSpPr>
          <p:cNvPr id="3" name="Content Placeholder 2">
            <a:extLst>
              <a:ext uri="{FF2B5EF4-FFF2-40B4-BE49-F238E27FC236}">
                <a16:creationId xmlns:a16="http://schemas.microsoft.com/office/drawing/2014/main" id="{611A4C80-DC38-4641-924F-90D6078CF592}"/>
              </a:ext>
            </a:extLst>
          </p:cNvPr>
          <p:cNvSpPr>
            <a:spLocks noGrp="1"/>
          </p:cNvSpPr>
          <p:nvPr>
            <p:ph idx="1"/>
          </p:nvPr>
        </p:nvSpPr>
        <p:spPr>
          <a:xfrm>
            <a:off x="4295775" y="1750060"/>
            <a:ext cx="7345362" cy="4342765"/>
          </a:xfrm>
        </p:spPr>
        <p:txBody>
          <a:bodyPr>
            <a:noAutofit/>
          </a:bodyPr>
          <a:lstStyle>
            <a:lvl1pPr>
              <a:defRPr sz="1600"/>
            </a:lvl1pPr>
            <a:lvl2pPr>
              <a:defRPr sz="1600"/>
            </a:lvl2pPr>
            <a:lvl3pPr>
              <a:defRPr sz="1600"/>
            </a:lvl3pPr>
            <a:lvl4pPr>
              <a:defRPr sz="1600"/>
            </a:lvl4pPr>
            <a:lvl5pPr>
              <a:defRPr sz="16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a:extLst>
              <a:ext uri="{FF2B5EF4-FFF2-40B4-BE49-F238E27FC236}">
                <a16:creationId xmlns:a16="http://schemas.microsoft.com/office/drawing/2014/main" id="{82C42771-D3A7-4072-85DC-B7C5E530E8AA}"/>
              </a:ext>
            </a:extLst>
          </p:cNvPr>
          <p:cNvSpPr>
            <a:spLocks noGrp="1"/>
          </p:cNvSpPr>
          <p:nvPr>
            <p:ph type="body" sz="half" idx="2"/>
          </p:nvPr>
        </p:nvSpPr>
        <p:spPr>
          <a:xfrm>
            <a:off x="550863" y="1750060"/>
            <a:ext cx="3565525" cy="4342765"/>
          </a:xfrm>
        </p:spPr>
        <p:txBody>
          <a:bodyPr>
            <a:noAutofit/>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EBD47AB1-6EB5-4E2C-B4A7-42DC643E9FF9}"/>
              </a:ext>
            </a:extLst>
          </p:cNvPr>
          <p:cNvSpPr>
            <a:spLocks noGrp="1"/>
          </p:cNvSpPr>
          <p:nvPr>
            <p:ph type="dt" sz="half" idx="10"/>
          </p:nvPr>
        </p:nvSpPr>
        <p:spPr/>
        <p:txBody>
          <a:bodyPr>
            <a:noAutofit/>
          </a:bodyPr>
          <a:lstStyle/>
          <a:p>
            <a:r>
              <a:rPr lang="en-US"/>
              <a:t>Tuesday, February 2, 20XX</a:t>
            </a:r>
          </a:p>
        </p:txBody>
      </p:sp>
      <p:sp>
        <p:nvSpPr>
          <p:cNvPr id="6" name="Footer Placeholder 5">
            <a:extLst>
              <a:ext uri="{FF2B5EF4-FFF2-40B4-BE49-F238E27FC236}">
                <a16:creationId xmlns:a16="http://schemas.microsoft.com/office/drawing/2014/main" id="{5BA9D15F-B6ED-46E1-9840-0B625880EE4B}"/>
              </a:ext>
            </a:extLst>
          </p:cNvPr>
          <p:cNvSpPr>
            <a:spLocks noGrp="1"/>
          </p:cNvSpPr>
          <p:nvPr>
            <p:ph type="ftr" sz="quarter" idx="11"/>
          </p:nvPr>
        </p:nvSpPr>
        <p:spPr/>
        <p:txBody>
          <a:bodyPr>
            <a:noAutofit/>
          </a:bodyPr>
          <a:lstStyle/>
          <a:p>
            <a:r>
              <a:rPr lang="en-US"/>
              <a:t>Sample Footer Text</a:t>
            </a:r>
          </a:p>
        </p:txBody>
      </p:sp>
      <p:sp>
        <p:nvSpPr>
          <p:cNvPr id="7" name="Slide Number Placeholder 6">
            <a:extLst>
              <a:ext uri="{FF2B5EF4-FFF2-40B4-BE49-F238E27FC236}">
                <a16:creationId xmlns:a16="http://schemas.microsoft.com/office/drawing/2014/main" id="{CDAEB023-7A5E-4087-B75E-A38A80EE5D01}"/>
              </a:ext>
            </a:extLst>
          </p:cNvPr>
          <p:cNvSpPr>
            <a:spLocks noGrp="1"/>
          </p:cNvSpPr>
          <p:nvPr>
            <p:ph type="sldNum" sz="quarter" idx="12"/>
          </p:nvPr>
        </p:nvSpPr>
        <p:spPr/>
        <p:txBody>
          <a:bodyPr>
            <a:noAutofit/>
          </a:bodyPr>
          <a:lstStyle/>
          <a:p>
            <a:fld id="{DBA1B0FB-D917-4C8C-928F-313BD683BF39}" type="slidenum">
              <a:rPr lang="en-US" smtClean="0"/>
              <a:t>‹#›</a:t>
            </a:fld>
            <a:endParaRPr lang="en-US"/>
          </a:p>
        </p:txBody>
      </p:sp>
    </p:spTree>
    <p:extLst>
      <p:ext uri="{BB962C8B-B14F-4D97-AF65-F5344CB8AC3E}">
        <p14:creationId xmlns:p14="http://schemas.microsoft.com/office/powerpoint/2010/main" val="98356284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Content (Two Lines)">
    <p:spTree>
      <p:nvGrpSpPr>
        <p:cNvPr id="1" name=""/>
        <p:cNvGrpSpPr/>
        <p:nvPr/>
      </p:nvGrpSpPr>
      <p:grpSpPr>
        <a:xfrm>
          <a:off x="0" y="0"/>
          <a:ext cx="0" cy="0"/>
          <a:chOff x="0" y="0"/>
          <a:chExt cx="0" cy="0"/>
        </a:xfrm>
      </p:grpSpPr>
      <p:sp>
        <p:nvSpPr>
          <p:cNvPr id="3" name="Content Placeholder 2"/>
          <p:cNvSpPr>
            <a:spLocks noGrp="1"/>
          </p:cNvSpPr>
          <p:nvPr>
            <p:ph idx="1"/>
          </p:nvPr>
        </p:nvSpPr>
        <p:spPr>
          <a:xfrm>
            <a:off x="558800" y="1825625"/>
            <a:ext cx="11080750" cy="4351338"/>
          </a:xfrm>
        </p:spPr>
        <p:txBody>
          <a:bodyPr/>
          <a:lstStyle>
            <a:lvl1pPr marL="228600" indent="-228600">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Date Placeholder 9"/>
          <p:cNvSpPr>
            <a:spLocks noGrp="1"/>
          </p:cNvSpPr>
          <p:nvPr>
            <p:ph type="dt" sz="half" idx="10"/>
          </p:nvPr>
        </p:nvSpPr>
        <p:spPr>
          <a:xfrm>
            <a:off x="558800" y="6356356"/>
            <a:ext cx="2743200" cy="365125"/>
          </a:xfrm>
        </p:spPr>
        <p:txBody>
          <a:bodyPr/>
          <a:lstStyle>
            <a:lvl1pPr>
              <a:defRPr sz="1400"/>
            </a:lvl1pPr>
          </a:lstStyle>
          <a:p>
            <a:r>
              <a:rPr lang="en-US"/>
              <a:t>HR&amp;A Advisors, Inc.</a:t>
            </a:r>
          </a:p>
        </p:txBody>
      </p:sp>
      <p:sp>
        <p:nvSpPr>
          <p:cNvPr id="15" name="Title 1"/>
          <p:cNvSpPr>
            <a:spLocks noGrp="1"/>
          </p:cNvSpPr>
          <p:nvPr>
            <p:ph type="title" hasCustomPrompt="1"/>
          </p:nvPr>
        </p:nvSpPr>
        <p:spPr>
          <a:xfrm>
            <a:off x="561976" y="365129"/>
            <a:ext cx="11077573" cy="1120772"/>
          </a:xfrm>
          <a:prstGeom prst="rect">
            <a:avLst/>
          </a:prstGeom>
        </p:spPr>
        <p:txBody>
          <a:bodyPr/>
          <a:lstStyle>
            <a:lvl1pPr>
              <a:defRPr/>
            </a:lvl1pPr>
          </a:lstStyle>
          <a:p>
            <a:r>
              <a:rPr lang="en-US"/>
              <a:t>Title</a:t>
            </a:r>
          </a:p>
        </p:txBody>
      </p:sp>
      <p:cxnSp>
        <p:nvCxnSpPr>
          <p:cNvPr id="16" name="Straight Connector 10"/>
          <p:cNvCxnSpPr>
            <a:cxnSpLocks noChangeShapeType="1"/>
          </p:cNvCxnSpPr>
          <p:nvPr userDrawn="1"/>
        </p:nvCxnSpPr>
        <p:spPr bwMode="auto">
          <a:xfrm>
            <a:off x="561978" y="1497014"/>
            <a:ext cx="11077572" cy="0"/>
          </a:xfrm>
          <a:prstGeom prst="line">
            <a:avLst/>
          </a:prstGeom>
          <a:noFill/>
          <a:ln w="19050" algn="ctr">
            <a:solidFill>
              <a:schemeClr val="bg1">
                <a:lumMod val="85000"/>
              </a:schemeClr>
            </a:solidFill>
            <a:round/>
            <a:headEnd/>
            <a:tailEnd/>
          </a:ln>
        </p:spPr>
      </p:cxnSp>
      <p:cxnSp>
        <p:nvCxnSpPr>
          <p:cNvPr id="17" name="Straight Connector 10"/>
          <p:cNvCxnSpPr>
            <a:cxnSpLocks noChangeShapeType="1"/>
          </p:cNvCxnSpPr>
          <p:nvPr userDrawn="1"/>
        </p:nvCxnSpPr>
        <p:spPr bwMode="auto">
          <a:xfrm>
            <a:off x="561978" y="365125"/>
            <a:ext cx="11077572" cy="0"/>
          </a:xfrm>
          <a:prstGeom prst="line">
            <a:avLst/>
          </a:prstGeom>
          <a:noFill/>
          <a:ln w="19050" algn="ctr">
            <a:solidFill>
              <a:schemeClr val="bg1">
                <a:lumMod val="85000"/>
              </a:schemeClr>
            </a:solidFill>
            <a:round/>
            <a:headEnd/>
            <a:tailEnd/>
          </a:ln>
        </p:spPr>
      </p:cxnSp>
      <p:sp>
        <p:nvSpPr>
          <p:cNvPr id="11" name="Slide Number Placeholder 3"/>
          <p:cNvSpPr>
            <a:spLocks noGrp="1"/>
          </p:cNvSpPr>
          <p:nvPr>
            <p:ph type="sldNum" sz="quarter" idx="11"/>
          </p:nvPr>
        </p:nvSpPr>
        <p:spPr>
          <a:xfrm>
            <a:off x="7979434" y="6356355"/>
            <a:ext cx="3660115" cy="365125"/>
          </a:xfrm>
        </p:spPr>
        <p:txBody>
          <a:bodyPr/>
          <a:lstStyle>
            <a:lvl1pPr>
              <a:defRPr sz="1400"/>
            </a:lvl1pPr>
          </a:lstStyle>
          <a:p>
            <a:r>
              <a:rPr lang="en-US"/>
              <a:t>Clark County Broadband | </a:t>
            </a:r>
            <a:fld id="{9D138368-C58B-4DBC-8350-4A5D56CDD059}" type="slidenum">
              <a:rPr lang="en-US" smtClean="0"/>
              <a:pPr/>
              <a:t>‹#›</a:t>
            </a:fld>
            <a:endParaRPr lang="en-US"/>
          </a:p>
        </p:txBody>
      </p:sp>
    </p:spTree>
    <p:extLst>
      <p:ext uri="{BB962C8B-B14F-4D97-AF65-F5344CB8AC3E}">
        <p14:creationId xmlns:p14="http://schemas.microsoft.com/office/powerpoint/2010/main" val="3774266290"/>
      </p:ext>
    </p:extLst>
  </p:cSld>
  <p:clrMapOvr>
    <a:masterClrMapping/>
  </p:clrMapOvr>
  <p:extLst>
    <p:ext uri="{DCECCB84-F9BA-43D5-87BE-67443E8EF086}">
      <p15:sldGuideLst xmlns:p15="http://schemas.microsoft.com/office/powerpoint/2012/main">
        <p15:guide id="1" orient="horz" pos="2160">
          <p15:clr>
            <a:srgbClr val="FBAE40"/>
          </p15:clr>
        </p15:guide>
        <p15:guide id="2" pos="384">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Text-Slide_3-Columns-Colors_Main">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A747FB79-4971-264B-A5F1-6E9D06F42B5B}"/>
              </a:ext>
            </a:extLst>
          </p:cNvPr>
          <p:cNvSpPr>
            <a:spLocks noGrp="1"/>
          </p:cNvSpPr>
          <p:nvPr>
            <p:ph sz="half" idx="1"/>
          </p:nvPr>
        </p:nvSpPr>
        <p:spPr>
          <a:xfrm>
            <a:off x="304074" y="3033597"/>
            <a:ext cx="2743200" cy="3433634"/>
          </a:xfrm>
          <a:solidFill>
            <a:srgbClr val="BFCFFF"/>
          </a:solidFill>
        </p:spPr>
        <p:txBody>
          <a:bodyPr tIns="182880">
            <a:normAutofit/>
          </a:bodyPr>
          <a:lstStyle>
            <a:lvl1pPr>
              <a:defRPr sz="1600"/>
            </a:lvl1pPr>
            <a:lvl2pPr>
              <a:defRPr sz="1600"/>
            </a:lvl2pPr>
            <a:lvl3pPr>
              <a:defRPr sz="1600"/>
            </a:lvl3pPr>
            <a:lvl4pPr>
              <a:defRPr sz="1600"/>
            </a:lvl4pPr>
            <a:lvl5pPr>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Content Placeholder 2">
            <a:extLst>
              <a:ext uri="{FF2B5EF4-FFF2-40B4-BE49-F238E27FC236}">
                <a16:creationId xmlns:a16="http://schemas.microsoft.com/office/drawing/2014/main" id="{526EC1E2-B355-B14E-9995-C06FDB341E80}"/>
              </a:ext>
            </a:extLst>
          </p:cNvPr>
          <p:cNvSpPr>
            <a:spLocks noGrp="1"/>
          </p:cNvSpPr>
          <p:nvPr>
            <p:ph sz="half" idx="13"/>
          </p:nvPr>
        </p:nvSpPr>
        <p:spPr>
          <a:xfrm>
            <a:off x="3244700" y="3033597"/>
            <a:ext cx="2743200" cy="3433634"/>
          </a:xfrm>
          <a:solidFill>
            <a:schemeClr val="accent6">
              <a:lumMod val="40000"/>
              <a:lumOff val="60000"/>
            </a:schemeClr>
          </a:solidFill>
        </p:spPr>
        <p:txBody>
          <a:bodyPr tIns="182880">
            <a:normAutofit/>
          </a:bodyPr>
          <a:lstStyle>
            <a:lvl1pPr>
              <a:defRPr sz="1600"/>
            </a:lvl1pPr>
            <a:lvl2pPr>
              <a:defRPr sz="1600"/>
            </a:lvl2pPr>
            <a:lvl3pPr>
              <a:defRPr sz="1600"/>
            </a:lvl3pPr>
            <a:lvl4pPr>
              <a:defRPr sz="1600"/>
            </a:lvl4pPr>
            <a:lvl5pPr>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itle 1">
            <a:extLst>
              <a:ext uri="{FF2B5EF4-FFF2-40B4-BE49-F238E27FC236}">
                <a16:creationId xmlns:a16="http://schemas.microsoft.com/office/drawing/2014/main" id="{7D7EC78C-4070-064F-8B44-4C2BF49358E5}"/>
              </a:ext>
            </a:extLst>
          </p:cNvPr>
          <p:cNvSpPr>
            <a:spLocks noGrp="1"/>
          </p:cNvSpPr>
          <p:nvPr>
            <p:ph type="title"/>
          </p:nvPr>
        </p:nvSpPr>
        <p:spPr>
          <a:xfrm>
            <a:off x="304074" y="207291"/>
            <a:ext cx="10515600" cy="1325563"/>
          </a:xfrm>
        </p:spPr>
        <p:txBody>
          <a:bodyPr anchor="t" anchorCtr="0">
            <a:normAutofit/>
          </a:bodyPr>
          <a:lstStyle>
            <a:lvl1pPr>
              <a:defRPr sz="3600">
                <a:solidFill>
                  <a:srgbClr val="006BAE"/>
                </a:solidFill>
              </a:defRPr>
            </a:lvl1pPr>
          </a:lstStyle>
          <a:p>
            <a:r>
              <a:rPr lang="en-US"/>
              <a:t>Click to edit Master title style</a:t>
            </a:r>
          </a:p>
        </p:txBody>
      </p:sp>
      <p:sp>
        <p:nvSpPr>
          <p:cNvPr id="10" name="Content Placeholder 2">
            <a:extLst>
              <a:ext uri="{FF2B5EF4-FFF2-40B4-BE49-F238E27FC236}">
                <a16:creationId xmlns:a16="http://schemas.microsoft.com/office/drawing/2014/main" id="{3F01A136-C379-A44D-9346-1BBBA8C96E5A}"/>
              </a:ext>
            </a:extLst>
          </p:cNvPr>
          <p:cNvSpPr>
            <a:spLocks noGrp="1"/>
          </p:cNvSpPr>
          <p:nvPr>
            <p:ph sz="half" idx="14"/>
          </p:nvPr>
        </p:nvSpPr>
        <p:spPr>
          <a:xfrm>
            <a:off x="6198357" y="3033597"/>
            <a:ext cx="2743200" cy="3433634"/>
          </a:xfrm>
          <a:solidFill>
            <a:schemeClr val="bg1">
              <a:lumMod val="85000"/>
            </a:schemeClr>
          </a:solidFill>
        </p:spPr>
        <p:txBody>
          <a:bodyPr tIns="182880">
            <a:normAutofit/>
          </a:bodyPr>
          <a:lstStyle>
            <a:lvl1pPr>
              <a:defRPr sz="1600"/>
            </a:lvl1pPr>
            <a:lvl2pPr>
              <a:defRPr sz="1600"/>
            </a:lvl2pPr>
            <a:lvl3pPr>
              <a:defRPr sz="1600"/>
            </a:lvl3pPr>
            <a:lvl4pPr>
              <a:defRPr sz="1600"/>
            </a:lvl4pPr>
            <a:lvl5pPr>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Content Placeholder 2">
            <a:extLst>
              <a:ext uri="{FF2B5EF4-FFF2-40B4-BE49-F238E27FC236}">
                <a16:creationId xmlns:a16="http://schemas.microsoft.com/office/drawing/2014/main" id="{59EA7336-E432-FA45-B806-3AC8D45BF446}"/>
              </a:ext>
            </a:extLst>
          </p:cNvPr>
          <p:cNvSpPr>
            <a:spLocks noGrp="1"/>
          </p:cNvSpPr>
          <p:nvPr>
            <p:ph sz="half" idx="15"/>
          </p:nvPr>
        </p:nvSpPr>
        <p:spPr>
          <a:xfrm>
            <a:off x="9152014" y="3033597"/>
            <a:ext cx="2743200" cy="3433634"/>
          </a:xfrm>
          <a:solidFill>
            <a:schemeClr val="accent2">
              <a:lumMod val="40000"/>
              <a:lumOff val="60000"/>
            </a:schemeClr>
          </a:solidFill>
        </p:spPr>
        <p:txBody>
          <a:bodyPr tIns="182880">
            <a:normAutofit/>
          </a:bodyPr>
          <a:lstStyle>
            <a:lvl1pPr>
              <a:defRPr sz="1600"/>
            </a:lvl1pPr>
            <a:lvl2pPr>
              <a:defRPr sz="1600"/>
            </a:lvl2pPr>
            <a:lvl3pPr>
              <a:defRPr sz="1600"/>
            </a:lvl3pPr>
            <a:lvl4pPr>
              <a:defRPr sz="1600"/>
            </a:lvl4pPr>
            <a:lvl5pPr>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6">
            <a:extLst>
              <a:ext uri="{FF2B5EF4-FFF2-40B4-BE49-F238E27FC236}">
                <a16:creationId xmlns:a16="http://schemas.microsoft.com/office/drawing/2014/main" id="{EFAB1B7B-3311-E749-9C40-C82B5CD7BA6F}"/>
              </a:ext>
            </a:extLst>
          </p:cNvPr>
          <p:cNvSpPr>
            <a:spLocks noGrp="1"/>
          </p:cNvSpPr>
          <p:nvPr>
            <p:ph type="sldNum" sz="quarter" idx="12"/>
          </p:nvPr>
        </p:nvSpPr>
        <p:spPr>
          <a:xfrm>
            <a:off x="9167519" y="6470779"/>
            <a:ext cx="2743200" cy="365125"/>
          </a:xfrm>
        </p:spPr>
        <p:txBody>
          <a:bodyPr/>
          <a:lstStyle/>
          <a:p>
            <a:fld id="{40A17B67-C831-B84F-948C-1D25C88F474A}" type="slidenum">
              <a:rPr lang="en-US" smtClean="0"/>
              <a:t>‹#›</a:t>
            </a:fld>
            <a:endParaRPr lang="en-US"/>
          </a:p>
        </p:txBody>
      </p:sp>
      <p:sp>
        <p:nvSpPr>
          <p:cNvPr id="17" name="Content Placeholder 2">
            <a:extLst>
              <a:ext uri="{FF2B5EF4-FFF2-40B4-BE49-F238E27FC236}">
                <a16:creationId xmlns:a16="http://schemas.microsoft.com/office/drawing/2014/main" id="{60AB63E6-55E1-6640-976E-CBE9F408DCEB}"/>
              </a:ext>
            </a:extLst>
          </p:cNvPr>
          <p:cNvSpPr>
            <a:spLocks noGrp="1"/>
          </p:cNvSpPr>
          <p:nvPr>
            <p:ph sz="half" idx="18" hasCustomPrompt="1"/>
          </p:nvPr>
        </p:nvSpPr>
        <p:spPr>
          <a:xfrm>
            <a:off x="304074" y="2024743"/>
            <a:ext cx="2743199" cy="1008854"/>
          </a:xfrm>
          <a:solidFill>
            <a:srgbClr val="3D5AFF"/>
          </a:solidFill>
        </p:spPr>
        <p:txBody>
          <a:bodyPr anchor="ctr" anchorCtr="0">
            <a:noAutofit/>
          </a:bodyPr>
          <a:lstStyle>
            <a:lvl1pPr marL="0" indent="0" algn="ctr">
              <a:lnSpc>
                <a:spcPts val="1800"/>
              </a:lnSpc>
              <a:buNone/>
              <a:defRPr sz="1800" b="1">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Program Purpose</a:t>
            </a:r>
          </a:p>
        </p:txBody>
      </p:sp>
      <p:sp>
        <p:nvSpPr>
          <p:cNvPr id="12" name="Content Placeholder 2">
            <a:extLst>
              <a:ext uri="{FF2B5EF4-FFF2-40B4-BE49-F238E27FC236}">
                <a16:creationId xmlns:a16="http://schemas.microsoft.com/office/drawing/2014/main" id="{830C43CC-6306-374B-8E59-BD49F09C9F2D}"/>
              </a:ext>
            </a:extLst>
          </p:cNvPr>
          <p:cNvSpPr>
            <a:spLocks noGrp="1"/>
          </p:cNvSpPr>
          <p:nvPr>
            <p:ph sz="half" idx="19" hasCustomPrompt="1"/>
          </p:nvPr>
        </p:nvSpPr>
        <p:spPr>
          <a:xfrm>
            <a:off x="3244701" y="2024743"/>
            <a:ext cx="2743199" cy="1008854"/>
          </a:xfrm>
          <a:solidFill>
            <a:srgbClr val="538235"/>
          </a:solidFill>
        </p:spPr>
        <p:txBody>
          <a:bodyPr anchor="ctr" anchorCtr="0">
            <a:noAutofit/>
          </a:bodyPr>
          <a:lstStyle>
            <a:lvl1pPr marL="0" indent="0" algn="ctr">
              <a:lnSpc>
                <a:spcPts val="1800"/>
              </a:lnSpc>
              <a:buNone/>
              <a:defRPr sz="1800" b="1">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Program Purpose</a:t>
            </a:r>
          </a:p>
        </p:txBody>
      </p:sp>
      <p:sp>
        <p:nvSpPr>
          <p:cNvPr id="15" name="Content Placeholder 2">
            <a:extLst>
              <a:ext uri="{FF2B5EF4-FFF2-40B4-BE49-F238E27FC236}">
                <a16:creationId xmlns:a16="http://schemas.microsoft.com/office/drawing/2014/main" id="{EDAC73A2-7579-4846-90C5-8371DE2143FE}"/>
              </a:ext>
            </a:extLst>
          </p:cNvPr>
          <p:cNvSpPr>
            <a:spLocks noGrp="1"/>
          </p:cNvSpPr>
          <p:nvPr>
            <p:ph sz="half" idx="20" hasCustomPrompt="1"/>
          </p:nvPr>
        </p:nvSpPr>
        <p:spPr>
          <a:xfrm>
            <a:off x="6206110" y="2024743"/>
            <a:ext cx="2743199" cy="1008854"/>
          </a:xfrm>
          <a:solidFill>
            <a:schemeClr val="bg1">
              <a:lumMod val="65000"/>
            </a:schemeClr>
          </a:solidFill>
        </p:spPr>
        <p:txBody>
          <a:bodyPr anchor="ctr" anchorCtr="0">
            <a:noAutofit/>
          </a:bodyPr>
          <a:lstStyle>
            <a:lvl1pPr marL="0" indent="0" algn="ctr">
              <a:lnSpc>
                <a:spcPts val="1800"/>
              </a:lnSpc>
              <a:buNone/>
              <a:defRPr sz="1800" b="1">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Program Purpose</a:t>
            </a:r>
          </a:p>
        </p:txBody>
      </p:sp>
      <p:sp>
        <p:nvSpPr>
          <p:cNvPr id="16" name="Content Placeholder 2">
            <a:extLst>
              <a:ext uri="{FF2B5EF4-FFF2-40B4-BE49-F238E27FC236}">
                <a16:creationId xmlns:a16="http://schemas.microsoft.com/office/drawing/2014/main" id="{859F0AAA-1485-0148-B217-FD750F59A9AF}"/>
              </a:ext>
            </a:extLst>
          </p:cNvPr>
          <p:cNvSpPr>
            <a:spLocks noGrp="1"/>
          </p:cNvSpPr>
          <p:nvPr>
            <p:ph sz="half" idx="21" hasCustomPrompt="1"/>
          </p:nvPr>
        </p:nvSpPr>
        <p:spPr>
          <a:xfrm>
            <a:off x="9167519" y="2024743"/>
            <a:ext cx="2743199" cy="1008854"/>
          </a:xfrm>
          <a:solidFill>
            <a:schemeClr val="accent2">
              <a:lumMod val="75000"/>
            </a:schemeClr>
          </a:solidFill>
        </p:spPr>
        <p:txBody>
          <a:bodyPr anchor="ctr" anchorCtr="0">
            <a:noAutofit/>
          </a:bodyPr>
          <a:lstStyle>
            <a:lvl1pPr marL="0" indent="0" algn="ctr">
              <a:lnSpc>
                <a:spcPts val="1800"/>
              </a:lnSpc>
              <a:buNone/>
              <a:defRPr sz="1800" b="1">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Program Purpose</a:t>
            </a:r>
          </a:p>
        </p:txBody>
      </p:sp>
      <p:cxnSp>
        <p:nvCxnSpPr>
          <p:cNvPr id="27" name="Straight Connector 26">
            <a:extLst>
              <a:ext uri="{FF2B5EF4-FFF2-40B4-BE49-F238E27FC236}">
                <a16:creationId xmlns:a16="http://schemas.microsoft.com/office/drawing/2014/main" id="{C4F32800-3C9B-0A4D-AB29-301E6B51E71F}"/>
              </a:ext>
            </a:extLst>
          </p:cNvPr>
          <p:cNvCxnSpPr>
            <a:cxnSpLocks/>
          </p:cNvCxnSpPr>
          <p:nvPr userDrawn="1"/>
        </p:nvCxnSpPr>
        <p:spPr>
          <a:xfrm>
            <a:off x="304074" y="876747"/>
            <a:ext cx="11481526" cy="0"/>
          </a:xfrm>
          <a:prstGeom prst="line">
            <a:avLst/>
          </a:prstGeom>
          <a:ln w="28575">
            <a:solidFill>
              <a:srgbClr val="006BAE"/>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5383794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Agenda">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C0923D16-1EC5-4C17-ABA8-B13A1256B36F}"/>
              </a:ext>
            </a:extLst>
          </p:cNvPr>
          <p:cNvSpPr>
            <a:spLocks noGrp="1"/>
          </p:cNvSpPr>
          <p:nvPr>
            <p:ph type="title" hasCustomPrompt="1"/>
          </p:nvPr>
        </p:nvSpPr>
        <p:spPr>
          <a:xfrm>
            <a:off x="550864" y="549275"/>
            <a:ext cx="3565524" cy="1997855"/>
          </a:xfrm>
        </p:spPr>
        <p:txBody>
          <a:bodyPr wrap="square" anchor="b" anchorCtr="0">
            <a:noAutofit/>
          </a:bodyPr>
          <a:lstStyle>
            <a:lvl1pPr>
              <a:defRPr/>
            </a:lvl1pPr>
          </a:lstStyle>
          <a:p>
            <a:r>
              <a:rPr lang="en-US" dirty="0"/>
              <a:t>Click to add title</a:t>
            </a:r>
          </a:p>
        </p:txBody>
      </p:sp>
      <p:sp>
        <p:nvSpPr>
          <p:cNvPr id="7" name="Content Placeholder 2">
            <a:extLst>
              <a:ext uri="{FF2B5EF4-FFF2-40B4-BE49-F238E27FC236}">
                <a16:creationId xmlns:a16="http://schemas.microsoft.com/office/drawing/2014/main" id="{50294D8B-CF64-4C26-8C78-57A375E7D33B}"/>
              </a:ext>
            </a:extLst>
          </p:cNvPr>
          <p:cNvSpPr>
            <a:spLocks noGrp="1"/>
          </p:cNvSpPr>
          <p:nvPr>
            <p:ph idx="1" hasCustomPrompt="1"/>
          </p:nvPr>
        </p:nvSpPr>
        <p:spPr>
          <a:xfrm>
            <a:off x="550863" y="2677306"/>
            <a:ext cx="3565525" cy="3415519"/>
          </a:xfrm>
        </p:spPr>
        <p:txBody>
          <a:bodyPr anchor="t" anchorCtr="0">
            <a:noAutofit/>
          </a:bodyPr>
          <a:lstStyle>
            <a:lvl1pPr>
              <a:buNone/>
              <a:defRPr/>
            </a:lvl1pPr>
          </a:lstStyle>
          <a:p>
            <a:pPr>
              <a:lnSpc>
                <a:spcPct val="120000"/>
              </a:lnSpc>
            </a:pPr>
            <a:r>
              <a:rPr lang="en-US" sz="1600" dirty="0"/>
              <a:t>Click to add text</a:t>
            </a:r>
          </a:p>
        </p:txBody>
      </p:sp>
      <p:sp>
        <p:nvSpPr>
          <p:cNvPr id="17" name="Picture Placeholder 16">
            <a:extLst>
              <a:ext uri="{FF2B5EF4-FFF2-40B4-BE49-F238E27FC236}">
                <a16:creationId xmlns:a16="http://schemas.microsoft.com/office/drawing/2014/main" id="{67BCF456-426F-435B-8DF0-A32A44F5A889}"/>
              </a:ext>
            </a:extLst>
          </p:cNvPr>
          <p:cNvSpPr>
            <a:spLocks noGrp="1"/>
          </p:cNvSpPr>
          <p:nvPr>
            <p:ph type="pic" sz="quarter" idx="13"/>
          </p:nvPr>
        </p:nvSpPr>
        <p:spPr>
          <a:xfrm>
            <a:off x="5208928" y="1596771"/>
            <a:ext cx="3448558" cy="3448558"/>
          </a:xfrm>
          <a:custGeom>
            <a:avLst/>
            <a:gdLst>
              <a:gd name="connsiteX0" fmla="*/ 1724279 w 3448558"/>
              <a:gd name="connsiteY0" fmla="*/ 0 h 3448558"/>
              <a:gd name="connsiteX1" fmla="*/ 3448558 w 3448558"/>
              <a:gd name="connsiteY1" fmla="*/ 1724279 h 3448558"/>
              <a:gd name="connsiteX2" fmla="*/ 1724279 w 3448558"/>
              <a:gd name="connsiteY2" fmla="*/ 3448558 h 3448558"/>
              <a:gd name="connsiteX3" fmla="*/ 0 w 3448558"/>
              <a:gd name="connsiteY3" fmla="*/ 1724279 h 3448558"/>
              <a:gd name="connsiteX4" fmla="*/ 1724279 w 3448558"/>
              <a:gd name="connsiteY4" fmla="*/ 0 h 34485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48558" h="3448558">
                <a:moveTo>
                  <a:pt x="1724279" y="0"/>
                </a:moveTo>
                <a:cubicBezTo>
                  <a:pt x="2676572" y="0"/>
                  <a:pt x="3448558" y="771986"/>
                  <a:pt x="3448558" y="1724279"/>
                </a:cubicBezTo>
                <a:cubicBezTo>
                  <a:pt x="3448558" y="2676572"/>
                  <a:pt x="2676572" y="3448558"/>
                  <a:pt x="1724279" y="3448558"/>
                </a:cubicBezTo>
                <a:cubicBezTo>
                  <a:pt x="771986" y="3448558"/>
                  <a:pt x="0" y="2676572"/>
                  <a:pt x="0" y="1724279"/>
                </a:cubicBezTo>
                <a:cubicBezTo>
                  <a:pt x="0" y="771986"/>
                  <a:pt x="771986" y="0"/>
                  <a:pt x="1724279" y="0"/>
                </a:cubicBezTo>
                <a:close/>
              </a:path>
            </a:pathLst>
          </a:custGeom>
          <a:solidFill>
            <a:schemeClr val="accent5"/>
          </a:solidFill>
        </p:spPr>
        <p:txBody>
          <a:bodyPr wrap="square">
            <a:noAutofit/>
          </a:bodyPr>
          <a:lstStyle/>
          <a:p>
            <a:r>
              <a:rPr lang="en-US"/>
              <a:t>Click icon to add picture</a:t>
            </a:r>
          </a:p>
        </p:txBody>
      </p:sp>
      <p:sp>
        <p:nvSpPr>
          <p:cNvPr id="22" name="Picture Placeholder 21">
            <a:extLst>
              <a:ext uri="{FF2B5EF4-FFF2-40B4-BE49-F238E27FC236}">
                <a16:creationId xmlns:a16="http://schemas.microsoft.com/office/drawing/2014/main" id="{4813A609-7079-46D5-9C1D-52004ABDAC9D}"/>
              </a:ext>
            </a:extLst>
          </p:cNvPr>
          <p:cNvSpPr>
            <a:spLocks noGrp="1"/>
          </p:cNvSpPr>
          <p:nvPr>
            <p:ph type="pic" sz="quarter" idx="14"/>
          </p:nvPr>
        </p:nvSpPr>
        <p:spPr>
          <a:xfrm>
            <a:off x="8918575" y="596392"/>
            <a:ext cx="2263776" cy="2263776"/>
          </a:xfrm>
          <a:custGeom>
            <a:avLst/>
            <a:gdLst>
              <a:gd name="connsiteX0" fmla="*/ 1131888 w 2263776"/>
              <a:gd name="connsiteY0" fmla="*/ 0 h 2263776"/>
              <a:gd name="connsiteX1" fmla="*/ 2263776 w 2263776"/>
              <a:gd name="connsiteY1" fmla="*/ 1131888 h 2263776"/>
              <a:gd name="connsiteX2" fmla="*/ 1131888 w 2263776"/>
              <a:gd name="connsiteY2" fmla="*/ 2263776 h 2263776"/>
              <a:gd name="connsiteX3" fmla="*/ 0 w 2263776"/>
              <a:gd name="connsiteY3" fmla="*/ 1131888 h 2263776"/>
              <a:gd name="connsiteX4" fmla="*/ 1131888 w 2263776"/>
              <a:gd name="connsiteY4" fmla="*/ 0 h 22637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63776" h="2263776">
                <a:moveTo>
                  <a:pt x="1131888" y="0"/>
                </a:moveTo>
                <a:cubicBezTo>
                  <a:pt x="1757012" y="0"/>
                  <a:pt x="2263776" y="506764"/>
                  <a:pt x="2263776" y="1131888"/>
                </a:cubicBezTo>
                <a:cubicBezTo>
                  <a:pt x="2263776" y="1757012"/>
                  <a:pt x="1757012" y="2263776"/>
                  <a:pt x="1131888" y="2263776"/>
                </a:cubicBezTo>
                <a:cubicBezTo>
                  <a:pt x="506764" y="2263776"/>
                  <a:pt x="0" y="1757012"/>
                  <a:pt x="0" y="1131888"/>
                </a:cubicBezTo>
                <a:cubicBezTo>
                  <a:pt x="0" y="506764"/>
                  <a:pt x="506764" y="0"/>
                  <a:pt x="1131888" y="0"/>
                </a:cubicBezTo>
                <a:close/>
              </a:path>
            </a:pathLst>
          </a:custGeom>
          <a:solidFill>
            <a:schemeClr val="accent5"/>
          </a:solidFill>
        </p:spPr>
        <p:txBody>
          <a:bodyPr wrap="square">
            <a:noAutofit/>
          </a:bodyPr>
          <a:lstStyle/>
          <a:p>
            <a:r>
              <a:rPr lang="en-US"/>
              <a:t>Click icon to add picture</a:t>
            </a:r>
          </a:p>
        </p:txBody>
      </p:sp>
      <p:sp>
        <p:nvSpPr>
          <p:cNvPr id="25" name="Picture Placeholder 24">
            <a:extLst>
              <a:ext uri="{FF2B5EF4-FFF2-40B4-BE49-F238E27FC236}">
                <a16:creationId xmlns:a16="http://schemas.microsoft.com/office/drawing/2014/main" id="{A14F21DF-D5E0-4C6C-BA2C-D69D65DBB18E}"/>
              </a:ext>
            </a:extLst>
          </p:cNvPr>
          <p:cNvSpPr>
            <a:spLocks noGrp="1"/>
          </p:cNvSpPr>
          <p:nvPr>
            <p:ph type="pic" sz="quarter" idx="15"/>
          </p:nvPr>
        </p:nvSpPr>
        <p:spPr>
          <a:xfrm>
            <a:off x="9091612" y="3324733"/>
            <a:ext cx="2936876" cy="2936876"/>
          </a:xfrm>
          <a:custGeom>
            <a:avLst/>
            <a:gdLst>
              <a:gd name="connsiteX0" fmla="*/ 1468438 w 2936876"/>
              <a:gd name="connsiteY0" fmla="*/ 0 h 2936876"/>
              <a:gd name="connsiteX1" fmla="*/ 2936876 w 2936876"/>
              <a:gd name="connsiteY1" fmla="*/ 1468438 h 2936876"/>
              <a:gd name="connsiteX2" fmla="*/ 1468438 w 2936876"/>
              <a:gd name="connsiteY2" fmla="*/ 2936876 h 2936876"/>
              <a:gd name="connsiteX3" fmla="*/ 0 w 2936876"/>
              <a:gd name="connsiteY3" fmla="*/ 1468438 h 2936876"/>
              <a:gd name="connsiteX4" fmla="*/ 1468438 w 2936876"/>
              <a:gd name="connsiteY4" fmla="*/ 0 h 29368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36876" h="2936876">
                <a:moveTo>
                  <a:pt x="1468438" y="0"/>
                </a:moveTo>
                <a:cubicBezTo>
                  <a:pt x="2279434" y="0"/>
                  <a:pt x="2936876" y="657442"/>
                  <a:pt x="2936876" y="1468438"/>
                </a:cubicBezTo>
                <a:cubicBezTo>
                  <a:pt x="2936876" y="2279434"/>
                  <a:pt x="2279434" y="2936876"/>
                  <a:pt x="1468438" y="2936876"/>
                </a:cubicBezTo>
                <a:cubicBezTo>
                  <a:pt x="657442" y="2936876"/>
                  <a:pt x="0" y="2279434"/>
                  <a:pt x="0" y="1468438"/>
                </a:cubicBezTo>
                <a:cubicBezTo>
                  <a:pt x="0" y="657442"/>
                  <a:pt x="657442" y="0"/>
                  <a:pt x="1468438" y="0"/>
                </a:cubicBezTo>
                <a:close/>
              </a:path>
            </a:pathLst>
          </a:custGeom>
          <a:solidFill>
            <a:schemeClr val="accent5"/>
          </a:solidFill>
        </p:spPr>
        <p:txBody>
          <a:bodyPr wrap="square">
            <a:noAutofit/>
          </a:bodyPr>
          <a:lstStyle/>
          <a:p>
            <a:r>
              <a:rPr lang="en-US"/>
              <a:t>Click icon to add picture</a:t>
            </a:r>
          </a:p>
        </p:txBody>
      </p:sp>
      <p:sp>
        <p:nvSpPr>
          <p:cNvPr id="2" name="Date Placeholder 1">
            <a:extLst>
              <a:ext uri="{FF2B5EF4-FFF2-40B4-BE49-F238E27FC236}">
                <a16:creationId xmlns:a16="http://schemas.microsoft.com/office/drawing/2014/main" id="{AB81B449-7B97-41DC-B23F-65EDCBD316A6}"/>
              </a:ext>
            </a:extLst>
          </p:cNvPr>
          <p:cNvSpPr>
            <a:spLocks noGrp="1"/>
          </p:cNvSpPr>
          <p:nvPr>
            <p:ph type="dt" sz="half" idx="10"/>
          </p:nvPr>
        </p:nvSpPr>
        <p:spPr/>
        <p:txBody>
          <a:bodyPr>
            <a:noAutofit/>
          </a:bodyPr>
          <a:lstStyle/>
          <a:p>
            <a:r>
              <a:rPr lang="en-US"/>
              <a:t>Tuesday, February 2, 20XX</a:t>
            </a:r>
          </a:p>
        </p:txBody>
      </p:sp>
      <p:sp>
        <p:nvSpPr>
          <p:cNvPr id="3" name="Footer Placeholder 2">
            <a:extLst>
              <a:ext uri="{FF2B5EF4-FFF2-40B4-BE49-F238E27FC236}">
                <a16:creationId xmlns:a16="http://schemas.microsoft.com/office/drawing/2014/main" id="{7C6B46D5-337B-4906-8412-4EEA3884FA7E}"/>
              </a:ext>
            </a:extLst>
          </p:cNvPr>
          <p:cNvSpPr>
            <a:spLocks noGrp="1"/>
          </p:cNvSpPr>
          <p:nvPr>
            <p:ph type="ftr" sz="quarter" idx="11"/>
          </p:nvPr>
        </p:nvSpPr>
        <p:spPr/>
        <p:txBody>
          <a:bodyPr>
            <a:noAutofit/>
          </a:bodyPr>
          <a:lstStyle/>
          <a:p>
            <a:r>
              <a:rPr lang="en-US"/>
              <a:t>Sample Footer Text</a:t>
            </a:r>
          </a:p>
        </p:txBody>
      </p:sp>
      <p:sp>
        <p:nvSpPr>
          <p:cNvPr id="4" name="Slide Number Placeholder 3">
            <a:extLst>
              <a:ext uri="{FF2B5EF4-FFF2-40B4-BE49-F238E27FC236}">
                <a16:creationId xmlns:a16="http://schemas.microsoft.com/office/drawing/2014/main" id="{E436F230-C9A7-407A-B923-873839C8D8A0}"/>
              </a:ext>
            </a:extLst>
          </p:cNvPr>
          <p:cNvSpPr>
            <a:spLocks noGrp="1"/>
          </p:cNvSpPr>
          <p:nvPr>
            <p:ph type="sldNum" sz="quarter" idx="12"/>
          </p:nvPr>
        </p:nvSpPr>
        <p:spPr/>
        <p:txBody>
          <a:bodyPr>
            <a:noAutofit/>
          </a:bodyPr>
          <a:lstStyle/>
          <a:p>
            <a:fld id="{DBA1B0FB-D917-4C8C-928F-313BD683BF39}" type="slidenum">
              <a:rPr lang="en-US" smtClean="0"/>
              <a:t>‹#›</a:t>
            </a:fld>
            <a:endParaRPr lang="en-US"/>
          </a:p>
        </p:txBody>
      </p:sp>
      <p:sp>
        <p:nvSpPr>
          <p:cNvPr id="6" name="Oval 5">
            <a:extLst>
              <a:ext uri="{FF2B5EF4-FFF2-40B4-BE49-F238E27FC236}">
                <a16:creationId xmlns:a16="http://schemas.microsoft.com/office/drawing/2014/main" id="{92FF63B4-C261-4597-9EE0-811D250B9D21}"/>
              </a:ext>
              <a:ext uri="{C183D7F6-B498-43B3-948B-1728B52AA6E4}">
                <adec:decorative xmlns:adec="http://schemas.microsoft.com/office/drawing/2017/decorative" val="1"/>
              </a:ext>
            </a:extLst>
          </p:cNvPr>
          <p:cNvSpPr>
            <a:spLocks noChangeAspect="1"/>
          </p:cNvSpPr>
          <p:nvPr userDrawn="1"/>
        </p:nvSpPr>
        <p:spPr>
          <a:xfrm>
            <a:off x="6548755" y="850167"/>
            <a:ext cx="360000" cy="360000"/>
          </a:xfrm>
          <a:prstGeom prst="ellipse">
            <a:avLst/>
          </a:prstGeom>
          <a:gradFill flip="none" rotWithShape="1">
            <a:gsLst>
              <a:gs pos="100000">
                <a:schemeClr val="bg2">
                  <a:lumMod val="50000"/>
                  <a:lumOff val="50000"/>
                </a:schemeClr>
              </a:gs>
              <a:gs pos="60000">
                <a:schemeClr val="bg2"/>
              </a:gs>
            </a:gsLst>
            <a:path path="circle">
              <a:fillToRect l="100000" b="100000"/>
            </a:path>
            <a:tileRect t="-100000" r="-100000"/>
          </a:gradFill>
          <a:ln>
            <a:noFill/>
          </a:ln>
          <a:effectLst>
            <a:innerShdw blurRad="127000" dist="63500" dir="2700000">
              <a:schemeClr val="accent1">
                <a:lumMod val="60000"/>
                <a:lumOff val="40000"/>
                <a:alpha val="20000"/>
              </a:schemeClr>
            </a:innerShdw>
            <a:softEdge rad="0"/>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grpSp>
        <p:nvGrpSpPr>
          <p:cNvPr id="10" name="Group 9">
            <a:extLst>
              <a:ext uri="{FF2B5EF4-FFF2-40B4-BE49-F238E27FC236}">
                <a16:creationId xmlns:a16="http://schemas.microsoft.com/office/drawing/2014/main" id="{F92CF088-7F97-4A11-8A81-0EF641F6986F}"/>
              </a:ext>
              <a:ext uri="{C183D7F6-B498-43B3-948B-1728B52AA6E4}">
                <adec:decorative xmlns:adec="http://schemas.microsoft.com/office/drawing/2017/decorative" val="1"/>
              </a:ext>
            </a:extLst>
          </p:cNvPr>
          <p:cNvGrpSpPr/>
          <p:nvPr userDrawn="1"/>
        </p:nvGrpSpPr>
        <p:grpSpPr>
          <a:xfrm>
            <a:off x="5602297" y="5691007"/>
            <a:ext cx="667802" cy="631474"/>
            <a:chOff x="3409557" y="4940429"/>
            <a:chExt cx="667802" cy="631474"/>
          </a:xfrm>
        </p:grpSpPr>
        <p:sp>
          <p:nvSpPr>
            <p:cNvPr id="11" name="Freeform: Shape 10">
              <a:extLst>
                <a:ext uri="{FF2B5EF4-FFF2-40B4-BE49-F238E27FC236}">
                  <a16:creationId xmlns:a16="http://schemas.microsoft.com/office/drawing/2014/main" id="{165B23B7-CE74-4974-ABD8-BFA31D583416}"/>
                </a:ext>
              </a:extLst>
            </p:cNvPr>
            <p:cNvSpPr>
              <a:spLocks noChangeAspect="1"/>
            </p:cNvSpPr>
            <p:nvPr/>
          </p:nvSpPr>
          <p:spPr>
            <a:xfrm rot="8100000">
              <a:off x="3537358" y="4940429"/>
              <a:ext cx="540001" cy="631474"/>
            </a:xfrm>
            <a:custGeom>
              <a:avLst/>
              <a:gdLst>
                <a:gd name="connsiteX0" fmla="*/ 540000 w 1080000"/>
                <a:gd name="connsiteY0" fmla="*/ 0 h 1262947"/>
                <a:gd name="connsiteX1" fmla="*/ 1080000 w 1080000"/>
                <a:gd name="connsiteY1" fmla="*/ 931034 h 1262947"/>
                <a:gd name="connsiteX2" fmla="*/ 1064374 w 1080000"/>
                <a:gd name="connsiteY2" fmla="*/ 931034 h 1262947"/>
                <a:gd name="connsiteX3" fmla="*/ 1069029 w 1080000"/>
                <a:gd name="connsiteY3" fmla="*/ 938533 h 1262947"/>
                <a:gd name="connsiteX4" fmla="*/ 1080000 w 1080000"/>
                <a:gd name="connsiteY4" fmla="*/ 992947 h 1262947"/>
                <a:gd name="connsiteX5" fmla="*/ 540000 w 1080000"/>
                <a:gd name="connsiteY5" fmla="*/ 1262947 h 1262947"/>
                <a:gd name="connsiteX6" fmla="*/ 0 w 1080000"/>
                <a:gd name="connsiteY6" fmla="*/ 992947 h 1262947"/>
                <a:gd name="connsiteX7" fmla="*/ 10971 w 1080000"/>
                <a:gd name="connsiteY7" fmla="*/ 938533 h 1262947"/>
                <a:gd name="connsiteX8" fmla="*/ 15626 w 1080000"/>
                <a:gd name="connsiteY8" fmla="*/ 931034 h 1262947"/>
                <a:gd name="connsiteX9" fmla="*/ 0 w 1080000"/>
                <a:gd name="connsiteY9" fmla="*/ 931034 h 1262947"/>
                <a:gd name="connsiteX0" fmla="*/ 540000 w 1080000"/>
                <a:gd name="connsiteY0" fmla="*/ 0 h 1262947"/>
                <a:gd name="connsiteX1" fmla="*/ 1080000 w 1080000"/>
                <a:gd name="connsiteY1" fmla="*/ 931034 h 1262947"/>
                <a:gd name="connsiteX2" fmla="*/ 1064374 w 1080000"/>
                <a:gd name="connsiteY2" fmla="*/ 931034 h 1262947"/>
                <a:gd name="connsiteX3" fmla="*/ 1069029 w 1080000"/>
                <a:gd name="connsiteY3" fmla="*/ 938533 h 1262947"/>
                <a:gd name="connsiteX4" fmla="*/ 1080000 w 1080000"/>
                <a:gd name="connsiteY4" fmla="*/ 992947 h 1262947"/>
                <a:gd name="connsiteX5" fmla="*/ 540000 w 1080000"/>
                <a:gd name="connsiteY5" fmla="*/ 1262947 h 1262947"/>
                <a:gd name="connsiteX6" fmla="*/ 0 w 1080000"/>
                <a:gd name="connsiteY6" fmla="*/ 992947 h 1262947"/>
                <a:gd name="connsiteX7" fmla="*/ 10971 w 1080000"/>
                <a:gd name="connsiteY7" fmla="*/ 938533 h 1262947"/>
                <a:gd name="connsiteX8" fmla="*/ 15626 w 1080000"/>
                <a:gd name="connsiteY8" fmla="*/ 931034 h 1262947"/>
                <a:gd name="connsiteX9" fmla="*/ 540000 w 1080000"/>
                <a:gd name="connsiteY9" fmla="*/ 0 h 1262947"/>
                <a:gd name="connsiteX0" fmla="*/ 540000 w 1080000"/>
                <a:gd name="connsiteY0" fmla="*/ 0 h 1262947"/>
                <a:gd name="connsiteX1" fmla="*/ 1064374 w 1080000"/>
                <a:gd name="connsiteY1" fmla="*/ 931034 h 1262947"/>
                <a:gd name="connsiteX2" fmla="*/ 1069029 w 1080000"/>
                <a:gd name="connsiteY2" fmla="*/ 938533 h 1262947"/>
                <a:gd name="connsiteX3" fmla="*/ 1080000 w 1080000"/>
                <a:gd name="connsiteY3" fmla="*/ 992947 h 1262947"/>
                <a:gd name="connsiteX4" fmla="*/ 540000 w 1080000"/>
                <a:gd name="connsiteY4" fmla="*/ 1262947 h 1262947"/>
                <a:gd name="connsiteX5" fmla="*/ 0 w 1080000"/>
                <a:gd name="connsiteY5" fmla="*/ 992947 h 1262947"/>
                <a:gd name="connsiteX6" fmla="*/ 10971 w 1080000"/>
                <a:gd name="connsiteY6" fmla="*/ 938533 h 1262947"/>
                <a:gd name="connsiteX7" fmla="*/ 15626 w 1080000"/>
                <a:gd name="connsiteY7" fmla="*/ 931034 h 1262947"/>
                <a:gd name="connsiteX8" fmla="*/ 540000 w 1080000"/>
                <a:gd name="connsiteY8" fmla="*/ 0 h 12629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80000" h="1262947">
                  <a:moveTo>
                    <a:pt x="540000" y="0"/>
                  </a:moveTo>
                  <a:lnTo>
                    <a:pt x="1064374" y="931034"/>
                  </a:lnTo>
                  <a:lnTo>
                    <a:pt x="1069029" y="938533"/>
                  </a:lnTo>
                  <a:cubicBezTo>
                    <a:pt x="1076223" y="956109"/>
                    <a:pt x="1080000" y="974307"/>
                    <a:pt x="1080000" y="992947"/>
                  </a:cubicBezTo>
                  <a:cubicBezTo>
                    <a:pt x="1080000" y="1142064"/>
                    <a:pt x="838234" y="1262947"/>
                    <a:pt x="540000" y="1262947"/>
                  </a:cubicBezTo>
                  <a:cubicBezTo>
                    <a:pt x="241766" y="1262947"/>
                    <a:pt x="0" y="1142064"/>
                    <a:pt x="0" y="992947"/>
                  </a:cubicBezTo>
                  <a:cubicBezTo>
                    <a:pt x="0" y="974307"/>
                    <a:pt x="3778" y="956109"/>
                    <a:pt x="10971" y="938533"/>
                  </a:cubicBezTo>
                  <a:lnTo>
                    <a:pt x="15626" y="931034"/>
                  </a:lnTo>
                  <a:lnTo>
                    <a:pt x="540000" y="0"/>
                  </a:lnTo>
                  <a:close/>
                </a:path>
              </a:pathLst>
            </a:custGeom>
            <a:gradFill>
              <a:gsLst>
                <a:gs pos="60000">
                  <a:schemeClr val="bg2">
                    <a:lumMod val="90000"/>
                    <a:lumOff val="10000"/>
                  </a:schemeClr>
                </a:gs>
                <a:gs pos="30000">
                  <a:schemeClr val="bg2">
                    <a:lumMod val="90000"/>
                    <a:lumOff val="10000"/>
                  </a:schemeClr>
                </a:gs>
                <a:gs pos="40000">
                  <a:schemeClr val="bg2">
                    <a:lumMod val="80000"/>
                    <a:lumOff val="20000"/>
                  </a:schemeClr>
                </a:gs>
                <a:gs pos="100000">
                  <a:schemeClr val="bg2"/>
                </a:gs>
              </a:gsLst>
              <a:lin ang="600000" scaled="0"/>
            </a:gradFill>
            <a:ln>
              <a:noFill/>
            </a:ln>
            <a:effectLst>
              <a:innerShdw blurRad="101600" dist="50800" dir="7320000">
                <a:schemeClr val="accent1">
                  <a:lumMod val="60000"/>
                  <a:lumOff val="40000"/>
                  <a:alpha val="20000"/>
                </a:scheme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2" name="Oval 11">
              <a:extLst>
                <a:ext uri="{FF2B5EF4-FFF2-40B4-BE49-F238E27FC236}">
                  <a16:creationId xmlns:a16="http://schemas.microsoft.com/office/drawing/2014/main" id="{FF99BB1F-6C9D-4972-9EF4-98ACD7BE71E5}"/>
                </a:ext>
              </a:extLst>
            </p:cNvPr>
            <p:cNvSpPr/>
            <p:nvPr/>
          </p:nvSpPr>
          <p:spPr>
            <a:xfrm rot="13500000">
              <a:off x="3544558" y="4858365"/>
              <a:ext cx="270000" cy="540001"/>
            </a:xfrm>
            <a:prstGeom prst="ellipse">
              <a:avLst/>
            </a:prstGeom>
            <a:gradFill>
              <a:gsLst>
                <a:gs pos="100000">
                  <a:schemeClr val="accent1">
                    <a:lumMod val="60000"/>
                    <a:lumOff val="40000"/>
                    <a:alpha val="0"/>
                  </a:schemeClr>
                </a:gs>
                <a:gs pos="0">
                  <a:schemeClr val="bg2">
                    <a:lumMod val="75000"/>
                    <a:lumOff val="25000"/>
                    <a:alpha val="33000"/>
                  </a:schemeClr>
                </a:gs>
              </a:gsLst>
              <a:lin ang="5400000" scaled="0"/>
            </a:gradFill>
            <a:ln>
              <a:noFill/>
            </a:ln>
            <a:effectLst>
              <a:innerShdw blurRad="1270000" dist="2540000">
                <a:schemeClr val="accent1">
                  <a:lumMod val="60000"/>
                  <a:lumOff val="40000"/>
                  <a:alpha val="0"/>
                </a:scheme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grpSp>
    </p:spTree>
    <p:extLst>
      <p:ext uri="{BB962C8B-B14F-4D97-AF65-F5344CB8AC3E}">
        <p14:creationId xmlns:p14="http://schemas.microsoft.com/office/powerpoint/2010/main" val="428412021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3_Introduction">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A458B3A1-C77D-4AFC-B2C8-79520B53C452}"/>
              </a:ext>
            </a:extLst>
          </p:cNvPr>
          <p:cNvSpPr>
            <a:spLocks noGrp="1"/>
          </p:cNvSpPr>
          <p:nvPr>
            <p:ph type="title"/>
          </p:nvPr>
        </p:nvSpPr>
        <p:spPr>
          <a:xfrm>
            <a:off x="550863" y="4507200"/>
            <a:ext cx="4500562" cy="1562959"/>
          </a:xfrm>
        </p:spPr>
        <p:txBody>
          <a:bodyPr wrap="square" anchor="t" anchorCtr="0">
            <a:noAutofit/>
          </a:bodyPr>
          <a:lstStyle/>
          <a:p>
            <a:r>
              <a:rPr lang="en-US"/>
              <a:t>Click to edit Master title style</a:t>
            </a:r>
            <a:endParaRPr lang="en-US" dirty="0"/>
          </a:p>
        </p:txBody>
      </p:sp>
      <p:sp>
        <p:nvSpPr>
          <p:cNvPr id="12" name="Picture Placeholder 11">
            <a:extLst>
              <a:ext uri="{FF2B5EF4-FFF2-40B4-BE49-F238E27FC236}">
                <a16:creationId xmlns:a16="http://schemas.microsoft.com/office/drawing/2014/main" id="{F551DA26-B267-4F28-B4D0-65B3EF6E1112}"/>
              </a:ext>
            </a:extLst>
          </p:cNvPr>
          <p:cNvSpPr>
            <a:spLocks noGrp="1"/>
          </p:cNvSpPr>
          <p:nvPr>
            <p:ph type="pic" sz="quarter" idx="13"/>
          </p:nvPr>
        </p:nvSpPr>
        <p:spPr>
          <a:xfrm>
            <a:off x="0" y="0"/>
            <a:ext cx="3054096" cy="3776472"/>
          </a:xfrm>
          <a:solidFill>
            <a:schemeClr val="accent5"/>
          </a:solidFill>
        </p:spPr>
        <p:txBody>
          <a:bodyPr>
            <a:noAutofit/>
          </a:bodyPr>
          <a:lstStyle/>
          <a:p>
            <a:r>
              <a:rPr lang="en-US"/>
              <a:t>Click icon to add picture</a:t>
            </a:r>
          </a:p>
        </p:txBody>
      </p:sp>
      <p:sp>
        <p:nvSpPr>
          <p:cNvPr id="18" name="Picture Placeholder 11">
            <a:extLst>
              <a:ext uri="{FF2B5EF4-FFF2-40B4-BE49-F238E27FC236}">
                <a16:creationId xmlns:a16="http://schemas.microsoft.com/office/drawing/2014/main" id="{95544A62-DA23-4840-99DE-09AFC8F4DC48}"/>
              </a:ext>
            </a:extLst>
          </p:cNvPr>
          <p:cNvSpPr>
            <a:spLocks noGrp="1"/>
          </p:cNvSpPr>
          <p:nvPr>
            <p:ph type="pic" sz="quarter" idx="14"/>
          </p:nvPr>
        </p:nvSpPr>
        <p:spPr>
          <a:xfrm>
            <a:off x="3054096" y="0"/>
            <a:ext cx="3054096" cy="3776472"/>
          </a:xfrm>
          <a:solidFill>
            <a:schemeClr val="accent5"/>
          </a:solidFill>
        </p:spPr>
        <p:txBody>
          <a:bodyPr>
            <a:noAutofit/>
          </a:bodyPr>
          <a:lstStyle/>
          <a:p>
            <a:r>
              <a:rPr lang="en-US"/>
              <a:t>Click icon to add picture</a:t>
            </a:r>
          </a:p>
        </p:txBody>
      </p:sp>
      <p:sp>
        <p:nvSpPr>
          <p:cNvPr id="19" name="Picture Placeholder 11">
            <a:extLst>
              <a:ext uri="{FF2B5EF4-FFF2-40B4-BE49-F238E27FC236}">
                <a16:creationId xmlns:a16="http://schemas.microsoft.com/office/drawing/2014/main" id="{0C91AF30-C5BB-4601-BDEB-E60C93A16933}"/>
              </a:ext>
            </a:extLst>
          </p:cNvPr>
          <p:cNvSpPr>
            <a:spLocks noGrp="1"/>
          </p:cNvSpPr>
          <p:nvPr>
            <p:ph type="pic" sz="quarter" idx="15"/>
          </p:nvPr>
        </p:nvSpPr>
        <p:spPr>
          <a:xfrm>
            <a:off x="6083808" y="0"/>
            <a:ext cx="3054096" cy="3776472"/>
          </a:xfrm>
          <a:solidFill>
            <a:schemeClr val="accent5"/>
          </a:solidFill>
        </p:spPr>
        <p:txBody>
          <a:bodyPr>
            <a:noAutofit/>
          </a:bodyPr>
          <a:lstStyle/>
          <a:p>
            <a:r>
              <a:rPr lang="en-US"/>
              <a:t>Click icon to add picture</a:t>
            </a:r>
          </a:p>
        </p:txBody>
      </p:sp>
      <p:sp>
        <p:nvSpPr>
          <p:cNvPr id="20" name="Picture Placeholder 11">
            <a:extLst>
              <a:ext uri="{FF2B5EF4-FFF2-40B4-BE49-F238E27FC236}">
                <a16:creationId xmlns:a16="http://schemas.microsoft.com/office/drawing/2014/main" id="{5B625AA5-EA5B-4115-A461-DA2C7087D83E}"/>
              </a:ext>
            </a:extLst>
          </p:cNvPr>
          <p:cNvSpPr>
            <a:spLocks noGrp="1"/>
          </p:cNvSpPr>
          <p:nvPr>
            <p:ph type="pic" sz="quarter" idx="16"/>
          </p:nvPr>
        </p:nvSpPr>
        <p:spPr>
          <a:xfrm>
            <a:off x="9137904" y="0"/>
            <a:ext cx="3054096" cy="3776472"/>
          </a:xfrm>
          <a:solidFill>
            <a:schemeClr val="accent5"/>
          </a:solidFill>
        </p:spPr>
        <p:txBody>
          <a:bodyPr>
            <a:noAutofit/>
          </a:bodyPr>
          <a:lstStyle/>
          <a:p>
            <a:r>
              <a:rPr lang="en-US"/>
              <a:t>Click icon to add picture</a:t>
            </a:r>
          </a:p>
        </p:txBody>
      </p:sp>
      <p:sp>
        <p:nvSpPr>
          <p:cNvPr id="2" name="Date Placeholder 1">
            <a:extLst>
              <a:ext uri="{FF2B5EF4-FFF2-40B4-BE49-F238E27FC236}">
                <a16:creationId xmlns:a16="http://schemas.microsoft.com/office/drawing/2014/main" id="{AB81B449-7B97-41DC-B23F-65EDCBD316A6}"/>
              </a:ext>
            </a:extLst>
          </p:cNvPr>
          <p:cNvSpPr>
            <a:spLocks noGrp="1"/>
          </p:cNvSpPr>
          <p:nvPr>
            <p:ph type="dt" sz="half" idx="10"/>
          </p:nvPr>
        </p:nvSpPr>
        <p:spPr/>
        <p:txBody>
          <a:bodyPr>
            <a:noAutofit/>
          </a:bodyPr>
          <a:lstStyle/>
          <a:p>
            <a:r>
              <a:rPr lang="en-US"/>
              <a:t>Tuesday, February 2, 20XX</a:t>
            </a:r>
          </a:p>
        </p:txBody>
      </p:sp>
      <p:sp>
        <p:nvSpPr>
          <p:cNvPr id="3" name="Footer Placeholder 2">
            <a:extLst>
              <a:ext uri="{FF2B5EF4-FFF2-40B4-BE49-F238E27FC236}">
                <a16:creationId xmlns:a16="http://schemas.microsoft.com/office/drawing/2014/main" id="{7C6B46D5-337B-4906-8412-4EEA3884FA7E}"/>
              </a:ext>
            </a:extLst>
          </p:cNvPr>
          <p:cNvSpPr>
            <a:spLocks noGrp="1"/>
          </p:cNvSpPr>
          <p:nvPr>
            <p:ph type="ftr" sz="quarter" idx="11"/>
          </p:nvPr>
        </p:nvSpPr>
        <p:spPr/>
        <p:txBody>
          <a:bodyPr>
            <a:noAutofit/>
          </a:bodyPr>
          <a:lstStyle/>
          <a:p>
            <a:r>
              <a:rPr lang="en-US"/>
              <a:t>Sample Footer Text</a:t>
            </a:r>
          </a:p>
        </p:txBody>
      </p:sp>
      <p:sp>
        <p:nvSpPr>
          <p:cNvPr id="4" name="Slide Number Placeholder 3">
            <a:extLst>
              <a:ext uri="{FF2B5EF4-FFF2-40B4-BE49-F238E27FC236}">
                <a16:creationId xmlns:a16="http://schemas.microsoft.com/office/drawing/2014/main" id="{E436F230-C9A7-407A-B923-873839C8D8A0}"/>
              </a:ext>
            </a:extLst>
          </p:cNvPr>
          <p:cNvSpPr>
            <a:spLocks noGrp="1"/>
          </p:cNvSpPr>
          <p:nvPr>
            <p:ph type="sldNum" sz="quarter" idx="12"/>
          </p:nvPr>
        </p:nvSpPr>
        <p:spPr/>
        <p:txBody>
          <a:bodyPr>
            <a:noAutofit/>
          </a:bodyPr>
          <a:lstStyle/>
          <a:p>
            <a:fld id="{DBA1B0FB-D917-4C8C-928F-313BD683BF39}" type="slidenum">
              <a:rPr lang="en-US" smtClean="0"/>
              <a:t>‹#›</a:t>
            </a:fld>
            <a:endParaRPr lang="en-US"/>
          </a:p>
        </p:txBody>
      </p:sp>
      <p:sp>
        <p:nvSpPr>
          <p:cNvPr id="11" name="Content Placeholder 6">
            <a:extLst>
              <a:ext uri="{FF2B5EF4-FFF2-40B4-BE49-F238E27FC236}">
                <a16:creationId xmlns:a16="http://schemas.microsoft.com/office/drawing/2014/main" id="{1B1AE41C-3196-4E6F-A3A8-313A92677FF3}"/>
              </a:ext>
            </a:extLst>
          </p:cNvPr>
          <p:cNvSpPr>
            <a:spLocks noGrp="1"/>
          </p:cNvSpPr>
          <p:nvPr>
            <p:ph sz="quarter" idx="15"/>
          </p:nvPr>
        </p:nvSpPr>
        <p:spPr>
          <a:xfrm>
            <a:off x="5262411" y="4508500"/>
            <a:ext cx="6221412" cy="1563688"/>
          </a:xfrm>
        </p:spPr>
        <p:txBody>
          <a:bodyPr>
            <a:noAutofit/>
          </a:bodyPr>
          <a:lstStyle>
            <a:lvl1pPr marL="228600" indent="-228600">
              <a:lnSpc>
                <a:spcPct val="100000"/>
              </a:lnSpc>
              <a:buFont typeface="Arial" panose="020B0604020202020204" pitchFamily="34" charset="0"/>
              <a:buChar char="•"/>
              <a:defRPr sz="2000"/>
            </a:lvl1pPr>
            <a:lvl2pPr>
              <a:buNone/>
              <a:defRPr sz="1900"/>
            </a:lvl2pPr>
            <a:lvl3pPr>
              <a:buNone/>
              <a:defRPr sz="1900"/>
            </a:lvl3pPr>
            <a:lvl4pPr>
              <a:buNone/>
              <a:defRPr sz="1900"/>
            </a:lvl4pPr>
            <a:lvl5pPr>
              <a:buNone/>
              <a:defRPr sz="1900"/>
            </a:lvl5pPr>
          </a:lstStyle>
          <a:p>
            <a:pPr lvl="0"/>
            <a:r>
              <a:rPr lang="en-US"/>
              <a:t>Click to edit Master text styles</a:t>
            </a:r>
          </a:p>
        </p:txBody>
      </p:sp>
    </p:spTree>
    <p:extLst>
      <p:ext uri="{BB962C8B-B14F-4D97-AF65-F5344CB8AC3E}">
        <p14:creationId xmlns:p14="http://schemas.microsoft.com/office/powerpoint/2010/main" val="257026072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4_Section break">
    <p:bg>
      <p:bgRef idx="1001">
        <a:schemeClr val="bg1"/>
      </p:bgRef>
    </p:bg>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F75B2FBE-0C5C-48AA-8D7F-9D5B7373CC9A}"/>
              </a:ext>
            </a:extLst>
          </p:cNvPr>
          <p:cNvSpPr>
            <a:spLocks noGrp="1"/>
          </p:cNvSpPr>
          <p:nvPr>
            <p:ph type="pic" sz="quarter" idx="13"/>
          </p:nvPr>
        </p:nvSpPr>
        <p:spPr>
          <a:xfrm>
            <a:off x="0" y="0"/>
            <a:ext cx="12192000" cy="6858000"/>
          </a:xfrm>
          <a:solidFill>
            <a:schemeClr val="accent5"/>
          </a:solidFill>
        </p:spPr>
        <p:txBody>
          <a:bodyPr/>
          <a:lstStyle/>
          <a:p>
            <a:r>
              <a:rPr lang="en-US"/>
              <a:t>Click icon to add picture</a:t>
            </a:r>
          </a:p>
        </p:txBody>
      </p:sp>
      <p:sp>
        <p:nvSpPr>
          <p:cNvPr id="4" name="Date Placeholder 3">
            <a:extLst>
              <a:ext uri="{FF2B5EF4-FFF2-40B4-BE49-F238E27FC236}">
                <a16:creationId xmlns:a16="http://schemas.microsoft.com/office/drawing/2014/main" id="{56403DDF-462A-45CE-931B-010AB4F73C3F}"/>
              </a:ext>
            </a:extLst>
          </p:cNvPr>
          <p:cNvSpPr>
            <a:spLocks noGrp="1"/>
          </p:cNvSpPr>
          <p:nvPr>
            <p:ph type="dt" sz="half" idx="10"/>
          </p:nvPr>
        </p:nvSpPr>
        <p:spPr/>
        <p:txBody>
          <a:bodyPr/>
          <a:lstStyle/>
          <a:p>
            <a:r>
              <a:rPr lang="en-US"/>
              <a:t>Tuesday, February 2, 20XX</a:t>
            </a:r>
          </a:p>
        </p:txBody>
      </p:sp>
      <p:sp>
        <p:nvSpPr>
          <p:cNvPr id="5" name="Footer Placeholder 4">
            <a:extLst>
              <a:ext uri="{FF2B5EF4-FFF2-40B4-BE49-F238E27FC236}">
                <a16:creationId xmlns:a16="http://schemas.microsoft.com/office/drawing/2014/main" id="{39E10702-2ACF-4768-9E91-8CB87B89594D}"/>
              </a:ext>
            </a:extLst>
          </p:cNvPr>
          <p:cNvSpPr>
            <a:spLocks noGrp="1"/>
          </p:cNvSpPr>
          <p:nvPr>
            <p:ph type="ftr" sz="quarter" idx="11"/>
          </p:nvPr>
        </p:nvSpPr>
        <p:spPr/>
        <p:txBody>
          <a:bodyPr/>
          <a:lstStyle/>
          <a:p>
            <a:r>
              <a:rPr lang="en-US"/>
              <a:t>Sample Footer Text</a:t>
            </a:r>
          </a:p>
        </p:txBody>
      </p:sp>
      <p:sp>
        <p:nvSpPr>
          <p:cNvPr id="6" name="Slide Number Placeholder 5">
            <a:extLst>
              <a:ext uri="{FF2B5EF4-FFF2-40B4-BE49-F238E27FC236}">
                <a16:creationId xmlns:a16="http://schemas.microsoft.com/office/drawing/2014/main" id="{E8DFA722-391E-4FCF-8E15-0D7E2EC02B63}"/>
              </a:ext>
            </a:extLst>
          </p:cNvPr>
          <p:cNvSpPr>
            <a:spLocks noGrp="1"/>
          </p:cNvSpPr>
          <p:nvPr>
            <p:ph type="sldNum" sz="quarter" idx="12"/>
          </p:nvPr>
        </p:nvSpPr>
        <p:spPr/>
        <p:txBody>
          <a:bodyPr/>
          <a:lstStyle/>
          <a:p>
            <a:fld id="{DBA1B0FB-D917-4C8C-928F-313BD683BF39}" type="slidenum">
              <a:rPr lang="en-US" smtClean="0"/>
              <a:t>‹#›</a:t>
            </a:fld>
            <a:endParaRPr lang="en-US"/>
          </a:p>
        </p:txBody>
      </p:sp>
      <p:sp>
        <p:nvSpPr>
          <p:cNvPr id="13" name="Rectangle 12">
            <a:extLst>
              <a:ext uri="{FF2B5EF4-FFF2-40B4-BE49-F238E27FC236}">
                <a16:creationId xmlns:a16="http://schemas.microsoft.com/office/drawing/2014/main" id="{80517979-166D-4AAA-ABBC-0C3E5C2ECF37}"/>
              </a:ext>
              <a:ext uri="{C183D7F6-B498-43B3-948B-1728B52AA6E4}">
                <adec:decorative xmlns:adec="http://schemas.microsoft.com/office/drawing/2017/decorative" val="1"/>
              </a:ext>
            </a:extLst>
          </p:cNvPr>
          <p:cNvSpPr/>
          <p:nvPr userDrawn="1"/>
        </p:nvSpPr>
        <p:spPr>
          <a:xfrm>
            <a:off x="0" y="5773729"/>
            <a:ext cx="12192000" cy="1084271"/>
          </a:xfrm>
          <a:prstGeom prst="rect">
            <a:avLst/>
          </a:prstGeom>
          <a:gradFill flip="none" rotWithShape="1">
            <a:gsLst>
              <a:gs pos="90000">
                <a:schemeClr val="bg2">
                  <a:alpha val="60000"/>
                </a:schemeClr>
              </a:gs>
              <a:gs pos="28000">
                <a:schemeClr val="bg2">
                  <a:alpha val="0"/>
                </a:schemeClr>
              </a:gs>
            </a:gsLst>
            <a:lin ang="5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4E111559-B769-4E2A-A891-97B3C4AA6BAC}"/>
              </a:ext>
            </a:extLst>
          </p:cNvPr>
          <p:cNvSpPr/>
          <p:nvPr userDrawn="1"/>
        </p:nvSpPr>
        <p:spPr>
          <a:xfrm rot="10800000">
            <a:off x="0" y="-3"/>
            <a:ext cx="9000000" cy="6857998"/>
          </a:xfrm>
          <a:prstGeom prst="rect">
            <a:avLst/>
          </a:prstGeom>
          <a:gradFill flip="none" rotWithShape="1">
            <a:gsLst>
              <a:gs pos="50000">
                <a:schemeClr val="bg2">
                  <a:alpha val="60000"/>
                </a:schemeClr>
              </a:gs>
              <a:gs pos="0">
                <a:schemeClr val="bg2">
                  <a:alpha val="0"/>
                </a:schemeClr>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Title 1">
            <a:extLst>
              <a:ext uri="{FF2B5EF4-FFF2-40B4-BE49-F238E27FC236}">
                <a16:creationId xmlns:a16="http://schemas.microsoft.com/office/drawing/2014/main" id="{754E1219-253E-4FEF-A576-83857F44BA01}"/>
              </a:ext>
            </a:extLst>
          </p:cNvPr>
          <p:cNvSpPr>
            <a:spLocks noGrp="1"/>
          </p:cNvSpPr>
          <p:nvPr>
            <p:ph type="ctrTitle"/>
          </p:nvPr>
        </p:nvSpPr>
        <p:spPr>
          <a:xfrm>
            <a:off x="550863" y="549275"/>
            <a:ext cx="5437187" cy="2986234"/>
          </a:xfrm>
        </p:spPr>
        <p:txBody>
          <a:bodyPr anchor="b" anchorCtr="0">
            <a:noAutofit/>
          </a:bodyPr>
          <a:lstStyle>
            <a:lvl1pPr>
              <a:defRPr sz="6400"/>
            </a:lvl1pPr>
          </a:lstStyle>
          <a:p>
            <a:r>
              <a:rPr lang="en-US"/>
              <a:t>Click to edit Master title style</a:t>
            </a:r>
            <a:endParaRPr lang="en-US" dirty="0"/>
          </a:p>
        </p:txBody>
      </p:sp>
      <p:sp>
        <p:nvSpPr>
          <p:cNvPr id="16" name="Subtitle 2">
            <a:extLst>
              <a:ext uri="{FF2B5EF4-FFF2-40B4-BE49-F238E27FC236}">
                <a16:creationId xmlns:a16="http://schemas.microsoft.com/office/drawing/2014/main" id="{93411FC5-0B5A-4566-9984-827485AF9265}"/>
              </a:ext>
            </a:extLst>
          </p:cNvPr>
          <p:cNvSpPr>
            <a:spLocks noGrp="1"/>
          </p:cNvSpPr>
          <p:nvPr>
            <p:ph type="subTitle" idx="1"/>
          </p:nvPr>
        </p:nvSpPr>
        <p:spPr>
          <a:xfrm>
            <a:off x="550863" y="3816724"/>
            <a:ext cx="5437187" cy="2265216"/>
          </a:xfrm>
        </p:spPr>
        <p:txBody>
          <a:bodyPr>
            <a:noAutofit/>
          </a:bodyPr>
          <a:lstStyle>
            <a:lvl1pPr>
              <a:buNone/>
              <a:defRPr sz="2400"/>
            </a:lvl1pPr>
          </a:lstStyle>
          <a:p>
            <a:r>
              <a:rPr lang="en-US">
                <a:solidFill>
                  <a:schemeClr val="tx1">
                    <a:alpha val="60000"/>
                  </a:schemeClr>
                </a:solidFill>
              </a:rPr>
              <a:t>Click to edit Master subtitle style</a:t>
            </a:r>
            <a:endParaRPr lang="en-US" dirty="0">
              <a:solidFill>
                <a:schemeClr val="tx1">
                  <a:alpha val="60000"/>
                </a:schemeClr>
              </a:solidFill>
            </a:endParaRPr>
          </a:p>
        </p:txBody>
      </p:sp>
    </p:spTree>
    <p:extLst>
      <p:ext uri="{BB962C8B-B14F-4D97-AF65-F5344CB8AC3E}">
        <p14:creationId xmlns:p14="http://schemas.microsoft.com/office/powerpoint/2010/main" val="1023429560"/>
      </p:ext>
    </p:extLst>
  </p:cSld>
  <p:clrMapOvr>
    <a:overrideClrMapping bg1="dk1" tx1="lt1" bg2="dk2" tx2="lt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5_Section break">
    <p:bg>
      <p:bgRef idx="1001">
        <a:schemeClr val="bg1"/>
      </p:bgRef>
    </p:bg>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F75B2FBE-0C5C-48AA-8D7F-9D5B7373CC9A}"/>
              </a:ext>
            </a:extLst>
          </p:cNvPr>
          <p:cNvSpPr>
            <a:spLocks noGrp="1"/>
          </p:cNvSpPr>
          <p:nvPr>
            <p:ph type="pic" sz="quarter" idx="13"/>
          </p:nvPr>
        </p:nvSpPr>
        <p:spPr>
          <a:xfrm>
            <a:off x="0" y="0"/>
            <a:ext cx="12192000" cy="6858000"/>
          </a:xfrm>
          <a:solidFill>
            <a:schemeClr val="bg2"/>
          </a:solidFill>
        </p:spPr>
        <p:txBody>
          <a:bodyPr/>
          <a:lstStyle/>
          <a:p>
            <a:r>
              <a:rPr lang="en-US"/>
              <a:t>Click icon to add picture</a:t>
            </a:r>
          </a:p>
        </p:txBody>
      </p:sp>
      <p:sp>
        <p:nvSpPr>
          <p:cNvPr id="16" name="Subtitle 2">
            <a:extLst>
              <a:ext uri="{FF2B5EF4-FFF2-40B4-BE49-F238E27FC236}">
                <a16:creationId xmlns:a16="http://schemas.microsoft.com/office/drawing/2014/main" id="{93411FC5-0B5A-4566-9984-827485AF9265}"/>
              </a:ext>
            </a:extLst>
          </p:cNvPr>
          <p:cNvSpPr>
            <a:spLocks noGrp="1"/>
          </p:cNvSpPr>
          <p:nvPr>
            <p:ph type="subTitle" idx="1"/>
          </p:nvPr>
        </p:nvSpPr>
        <p:spPr>
          <a:xfrm>
            <a:off x="0" y="3557281"/>
            <a:ext cx="6640285" cy="3300719"/>
          </a:xfrm>
          <a:gradFill>
            <a:gsLst>
              <a:gs pos="0">
                <a:schemeClr val="bg2">
                  <a:alpha val="0"/>
                </a:schemeClr>
              </a:gs>
              <a:gs pos="50000">
                <a:schemeClr val="bg2">
                  <a:alpha val="60000"/>
                </a:schemeClr>
              </a:gs>
            </a:gsLst>
            <a:lin ang="10800000" scaled="1"/>
          </a:gradFill>
        </p:spPr>
        <p:txBody>
          <a:bodyPr>
            <a:noAutofit/>
          </a:bodyPr>
          <a:lstStyle>
            <a:lvl1pPr marL="548640" indent="0">
              <a:lnSpc>
                <a:spcPct val="200000"/>
              </a:lnSpc>
              <a:buNone/>
              <a:defRPr/>
            </a:lvl1pPr>
          </a:lstStyle>
          <a:p>
            <a:r>
              <a:rPr lang="en-US">
                <a:solidFill>
                  <a:schemeClr val="tx1">
                    <a:alpha val="60000"/>
                  </a:schemeClr>
                </a:solidFill>
              </a:rPr>
              <a:t>Click to edit Master subtitle style</a:t>
            </a:r>
            <a:endParaRPr lang="en-US" dirty="0">
              <a:solidFill>
                <a:schemeClr val="tx1">
                  <a:alpha val="60000"/>
                </a:schemeClr>
              </a:solidFill>
            </a:endParaRPr>
          </a:p>
        </p:txBody>
      </p:sp>
      <p:sp>
        <p:nvSpPr>
          <p:cNvPr id="15" name="Title 1">
            <a:extLst>
              <a:ext uri="{FF2B5EF4-FFF2-40B4-BE49-F238E27FC236}">
                <a16:creationId xmlns:a16="http://schemas.microsoft.com/office/drawing/2014/main" id="{754E1219-253E-4FEF-A576-83857F44BA01}"/>
              </a:ext>
            </a:extLst>
          </p:cNvPr>
          <p:cNvSpPr>
            <a:spLocks noGrp="1"/>
          </p:cNvSpPr>
          <p:nvPr>
            <p:ph type="ctrTitle"/>
          </p:nvPr>
        </p:nvSpPr>
        <p:spPr>
          <a:xfrm>
            <a:off x="0" y="0"/>
            <a:ext cx="6640285" cy="3535509"/>
          </a:xfrm>
          <a:gradFill flip="none" rotWithShape="1">
            <a:gsLst>
              <a:gs pos="0">
                <a:schemeClr val="bg2">
                  <a:alpha val="0"/>
                </a:schemeClr>
              </a:gs>
              <a:gs pos="50000">
                <a:schemeClr val="bg2">
                  <a:alpha val="70000"/>
                </a:schemeClr>
              </a:gs>
            </a:gsLst>
            <a:lin ang="10800000" scaled="1"/>
            <a:tileRect/>
          </a:gradFill>
        </p:spPr>
        <p:txBody>
          <a:bodyPr anchor="b" anchorCtr="0">
            <a:noAutofit/>
          </a:bodyPr>
          <a:lstStyle>
            <a:lvl1pPr marL="548640">
              <a:spcAft>
                <a:spcPts val="1200"/>
              </a:spcAft>
              <a:defRPr sz="6400"/>
            </a:lvl1pPr>
          </a:lstStyle>
          <a:p>
            <a:r>
              <a:rPr lang="en-US"/>
              <a:t>Click to edit Master title style</a:t>
            </a:r>
            <a:endParaRPr lang="en-US" dirty="0"/>
          </a:p>
        </p:txBody>
      </p:sp>
    </p:spTree>
    <p:extLst>
      <p:ext uri="{BB962C8B-B14F-4D97-AF65-F5344CB8AC3E}">
        <p14:creationId xmlns:p14="http://schemas.microsoft.com/office/powerpoint/2010/main" val="2229304515"/>
      </p:ext>
    </p:extLst>
  </p:cSld>
  <p:clrMapOvr>
    <a:overrideClrMapping bg1="dk1" tx1="lt1" bg2="dk2" tx2="lt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obj" preserve="1">
  <p:cSld name="5_Chart Table Timeline">
    <p:spTree>
      <p:nvGrpSpPr>
        <p:cNvPr id="1" name=""/>
        <p:cNvGrpSpPr/>
        <p:nvPr/>
      </p:nvGrpSpPr>
      <p:grpSpPr>
        <a:xfrm>
          <a:off x="0" y="0"/>
          <a:ext cx="0" cy="0"/>
          <a:chOff x="0" y="0"/>
          <a:chExt cx="0" cy="0"/>
        </a:xfrm>
      </p:grpSpPr>
      <p:grpSp>
        <p:nvGrpSpPr>
          <p:cNvPr id="12" name="Group 11">
            <a:extLst>
              <a:ext uri="{FF2B5EF4-FFF2-40B4-BE49-F238E27FC236}">
                <a16:creationId xmlns:a16="http://schemas.microsoft.com/office/drawing/2014/main" id="{3BDBC526-6DCD-4FF6-8395-D8C22E46E527}"/>
              </a:ext>
            </a:extLst>
          </p:cNvPr>
          <p:cNvGrpSpPr/>
          <p:nvPr/>
        </p:nvGrpSpPr>
        <p:grpSpPr>
          <a:xfrm>
            <a:off x="613998" y="5334748"/>
            <a:ext cx="678135" cy="990000"/>
            <a:chOff x="10490969" y="1448827"/>
            <a:chExt cx="678135" cy="990000"/>
          </a:xfrm>
        </p:grpSpPr>
        <p:sp>
          <p:nvSpPr>
            <p:cNvPr id="13" name="Freeform: Shape 12">
              <a:extLst>
                <a:ext uri="{FF2B5EF4-FFF2-40B4-BE49-F238E27FC236}">
                  <a16:creationId xmlns:a16="http://schemas.microsoft.com/office/drawing/2014/main" id="{02ECB475-568C-47AC-B16D-2E202DEB2DE0}"/>
                </a:ext>
              </a:extLst>
            </p:cNvPr>
            <p:cNvSpPr>
              <a:spLocks noChangeAspect="1"/>
            </p:cNvSpPr>
            <p:nvPr/>
          </p:nvSpPr>
          <p:spPr>
            <a:xfrm rot="2700000" flipH="1" flipV="1">
              <a:off x="10268976" y="1743588"/>
              <a:ext cx="926985" cy="463493"/>
            </a:xfrm>
            <a:custGeom>
              <a:avLst/>
              <a:gdLst>
                <a:gd name="connsiteX0" fmla="*/ 1329373 w 2658746"/>
                <a:gd name="connsiteY0" fmla="*/ 0 h 1329373"/>
                <a:gd name="connsiteX1" fmla="*/ 2658746 w 2658746"/>
                <a:gd name="connsiteY1" fmla="*/ 1329373 h 1329373"/>
                <a:gd name="connsiteX2" fmla="*/ 1994059 w 2658746"/>
                <a:gd name="connsiteY2" fmla="*/ 1329373 h 1329373"/>
                <a:gd name="connsiteX3" fmla="*/ 1329373 w 2658746"/>
                <a:gd name="connsiteY3" fmla="*/ 664687 h 1329373"/>
                <a:gd name="connsiteX4" fmla="*/ 664687 w 2658746"/>
                <a:gd name="connsiteY4" fmla="*/ 1329373 h 1329373"/>
                <a:gd name="connsiteX5" fmla="*/ 0 w 2658746"/>
                <a:gd name="connsiteY5" fmla="*/ 1329373 h 1329373"/>
                <a:gd name="connsiteX6" fmla="*/ 1329373 w 2658746"/>
                <a:gd name="connsiteY6" fmla="*/ 0 h 1329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58746" h="1329373">
                  <a:moveTo>
                    <a:pt x="1329373" y="0"/>
                  </a:moveTo>
                  <a:cubicBezTo>
                    <a:pt x="2063565" y="0"/>
                    <a:pt x="2658746" y="595181"/>
                    <a:pt x="2658746" y="1329373"/>
                  </a:cubicBezTo>
                  <a:lnTo>
                    <a:pt x="1994059" y="1329373"/>
                  </a:lnTo>
                  <a:cubicBezTo>
                    <a:pt x="1994059" y="962277"/>
                    <a:pt x="1696469" y="664687"/>
                    <a:pt x="1329373" y="664687"/>
                  </a:cubicBezTo>
                  <a:cubicBezTo>
                    <a:pt x="962277" y="664687"/>
                    <a:pt x="664687" y="962277"/>
                    <a:pt x="664687" y="1329373"/>
                  </a:cubicBezTo>
                  <a:lnTo>
                    <a:pt x="0" y="1329373"/>
                  </a:lnTo>
                  <a:cubicBezTo>
                    <a:pt x="0" y="595181"/>
                    <a:pt x="595181" y="0"/>
                    <a:pt x="1329373" y="0"/>
                  </a:cubicBezTo>
                  <a:close/>
                </a:path>
              </a:pathLst>
            </a:custGeom>
            <a:solidFill>
              <a:schemeClr val="bg2"/>
            </a:solidFill>
            <a:ln>
              <a:noFill/>
            </a:ln>
            <a:effectLst>
              <a:innerShdw blurRad="127000" dist="50800" dir="13500000">
                <a:schemeClr val="accent1">
                  <a:lumMod val="40000"/>
                  <a:lumOff val="60000"/>
                  <a:alpha val="20000"/>
                </a:scheme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a:solidFill>
                  <a:schemeClr val="tx1"/>
                </a:solidFill>
              </a:endParaRPr>
            </a:p>
          </p:txBody>
        </p:sp>
        <p:sp>
          <p:nvSpPr>
            <p:cNvPr id="14" name="Oval 13">
              <a:extLst>
                <a:ext uri="{FF2B5EF4-FFF2-40B4-BE49-F238E27FC236}">
                  <a16:creationId xmlns:a16="http://schemas.microsoft.com/office/drawing/2014/main" id="{080D8764-525A-441E-B58F-068E82F09714}"/>
                </a:ext>
              </a:extLst>
            </p:cNvPr>
            <p:cNvSpPr/>
            <p:nvPr/>
          </p:nvSpPr>
          <p:spPr>
            <a:xfrm rot="8100000" flipH="1" flipV="1">
              <a:off x="11115555" y="1939340"/>
              <a:ext cx="53549" cy="233295"/>
            </a:xfrm>
            <a:prstGeom prst="ellipse">
              <a:avLst/>
            </a:prstGeom>
            <a:solidFill>
              <a:schemeClr val="bg2">
                <a:lumMod val="90000"/>
                <a:lumOff val="10000"/>
              </a:schemeClr>
            </a:solidFill>
            <a:ln>
              <a:noFill/>
            </a:ln>
            <a:effectLst>
              <a:innerShdw blurRad="63500" dist="2540000">
                <a:schemeClr val="accent1">
                  <a:lumMod val="60000"/>
                  <a:lumOff val="40000"/>
                  <a:alpha val="0"/>
                </a:scheme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5" name="Oval 14">
              <a:extLst>
                <a:ext uri="{FF2B5EF4-FFF2-40B4-BE49-F238E27FC236}">
                  <a16:creationId xmlns:a16="http://schemas.microsoft.com/office/drawing/2014/main" id="{11196109-6F2B-4738-B2FC-2CCC753AABD4}"/>
                </a:ext>
              </a:extLst>
            </p:cNvPr>
            <p:cNvSpPr/>
            <p:nvPr/>
          </p:nvSpPr>
          <p:spPr>
            <a:xfrm rot="8100000" flipH="1" flipV="1">
              <a:off x="10625042" y="1448827"/>
              <a:ext cx="53549" cy="233295"/>
            </a:xfrm>
            <a:prstGeom prst="ellipse">
              <a:avLst/>
            </a:prstGeom>
            <a:solidFill>
              <a:schemeClr val="bg2">
                <a:lumMod val="90000"/>
                <a:lumOff val="10000"/>
              </a:schemeClr>
            </a:solidFill>
            <a:ln>
              <a:noFill/>
            </a:ln>
            <a:effectLst>
              <a:innerShdw blurRad="63500" dist="2540000">
                <a:schemeClr val="accent1">
                  <a:lumMod val="60000"/>
                  <a:lumOff val="40000"/>
                  <a:alpha val="0"/>
                </a:scheme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6" name="Freeform: Shape 15">
              <a:extLst>
                <a:ext uri="{FF2B5EF4-FFF2-40B4-BE49-F238E27FC236}">
                  <a16:creationId xmlns:a16="http://schemas.microsoft.com/office/drawing/2014/main" id="{F7E468C2-69B8-470B-85E3-801A3CB1D7E2}"/>
                </a:ext>
              </a:extLst>
            </p:cNvPr>
            <p:cNvSpPr>
              <a:spLocks noChangeAspect="1"/>
            </p:cNvSpPr>
            <p:nvPr/>
          </p:nvSpPr>
          <p:spPr>
            <a:xfrm rot="2700000" flipH="1" flipV="1">
              <a:off x="10292519" y="1686748"/>
              <a:ext cx="926985" cy="530086"/>
            </a:xfrm>
            <a:custGeom>
              <a:avLst/>
              <a:gdLst>
                <a:gd name="connsiteX0" fmla="*/ 1329373 w 2658746"/>
                <a:gd name="connsiteY0" fmla="*/ 0 h 1329373"/>
                <a:gd name="connsiteX1" fmla="*/ 2658746 w 2658746"/>
                <a:gd name="connsiteY1" fmla="*/ 1329373 h 1329373"/>
                <a:gd name="connsiteX2" fmla="*/ 1994059 w 2658746"/>
                <a:gd name="connsiteY2" fmla="*/ 1329373 h 1329373"/>
                <a:gd name="connsiteX3" fmla="*/ 1329373 w 2658746"/>
                <a:gd name="connsiteY3" fmla="*/ 664687 h 1329373"/>
                <a:gd name="connsiteX4" fmla="*/ 664687 w 2658746"/>
                <a:gd name="connsiteY4" fmla="*/ 1329373 h 1329373"/>
                <a:gd name="connsiteX5" fmla="*/ 0 w 2658746"/>
                <a:gd name="connsiteY5" fmla="*/ 1329373 h 1329373"/>
                <a:gd name="connsiteX6" fmla="*/ 1329373 w 2658746"/>
                <a:gd name="connsiteY6" fmla="*/ 0 h 1329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58746" h="1329373">
                  <a:moveTo>
                    <a:pt x="1329373" y="0"/>
                  </a:moveTo>
                  <a:cubicBezTo>
                    <a:pt x="2063565" y="0"/>
                    <a:pt x="2658746" y="595181"/>
                    <a:pt x="2658746" y="1329373"/>
                  </a:cubicBezTo>
                  <a:lnTo>
                    <a:pt x="1994059" y="1329373"/>
                  </a:lnTo>
                  <a:cubicBezTo>
                    <a:pt x="1994059" y="962277"/>
                    <a:pt x="1696469" y="664687"/>
                    <a:pt x="1329373" y="664687"/>
                  </a:cubicBezTo>
                  <a:cubicBezTo>
                    <a:pt x="962277" y="664687"/>
                    <a:pt x="664687" y="962277"/>
                    <a:pt x="664687" y="1329373"/>
                  </a:cubicBezTo>
                  <a:lnTo>
                    <a:pt x="0" y="1329373"/>
                  </a:lnTo>
                  <a:cubicBezTo>
                    <a:pt x="0" y="595181"/>
                    <a:pt x="595181" y="0"/>
                    <a:pt x="1329373" y="0"/>
                  </a:cubicBezTo>
                  <a:close/>
                </a:path>
              </a:pathLst>
            </a:custGeom>
            <a:solidFill>
              <a:schemeClr val="bg2">
                <a:lumMod val="50000"/>
                <a:lumOff val="50000"/>
                <a:alpha val="20000"/>
              </a:schemeClr>
            </a:solidFill>
            <a:ln>
              <a:noFill/>
            </a:ln>
            <a:effectLst>
              <a:softEdge rad="101600"/>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a:solidFill>
                  <a:schemeClr val="tx1"/>
                </a:solidFill>
              </a:endParaRPr>
            </a:p>
          </p:txBody>
        </p:sp>
      </p:grpSp>
      <p:sp>
        <p:nvSpPr>
          <p:cNvPr id="2" name="Title 1">
            <a:extLst>
              <a:ext uri="{FF2B5EF4-FFF2-40B4-BE49-F238E27FC236}">
                <a16:creationId xmlns:a16="http://schemas.microsoft.com/office/drawing/2014/main" id="{B1A4B040-51E3-4DA0-B21D-EEE173E7536F}"/>
              </a:ext>
            </a:extLst>
          </p:cNvPr>
          <p:cNvSpPr>
            <a:spLocks noGrp="1"/>
          </p:cNvSpPr>
          <p:nvPr>
            <p:ph type="title"/>
          </p:nvPr>
        </p:nvSpPr>
        <p:spPr>
          <a:xfrm>
            <a:off x="550862" y="549275"/>
            <a:ext cx="11091600" cy="1332000"/>
          </a:xfrm>
        </p:spPr>
        <p:txBody>
          <a:bodyPr vert="horz" wrap="square" lIns="0" tIns="0" rIns="0" bIns="0" rtlCol="0" anchor="t" anchorCtr="0">
            <a:noAutofit/>
          </a:bodyPr>
          <a:lstStyle>
            <a:lvl1pPr>
              <a:defRPr lang="en-US" dirty="0"/>
            </a:lvl1pPr>
          </a:lstStyle>
          <a:p>
            <a:pPr lvl="0">
              <a:lnSpc>
                <a:spcPct val="100000"/>
              </a:lnSpc>
            </a:pPr>
            <a:r>
              <a:rPr lang="en-US"/>
              <a:t>Click to edit Master title style</a:t>
            </a:r>
            <a:endParaRPr lang="en-US" dirty="0"/>
          </a:p>
        </p:txBody>
      </p:sp>
      <p:sp>
        <p:nvSpPr>
          <p:cNvPr id="3" name="Content Placeholder 2">
            <a:extLst>
              <a:ext uri="{FF2B5EF4-FFF2-40B4-BE49-F238E27FC236}">
                <a16:creationId xmlns:a16="http://schemas.microsoft.com/office/drawing/2014/main" id="{F8A2CD90-429B-4A55-B6C8-DD6CE6994118}"/>
              </a:ext>
            </a:extLst>
          </p:cNvPr>
          <p:cNvSpPr>
            <a:spLocks noGrp="1"/>
          </p:cNvSpPr>
          <p:nvPr>
            <p:ph idx="1"/>
          </p:nvPr>
        </p:nvSpPr>
        <p:spPr>
          <a:xfrm>
            <a:off x="550863" y="2113199"/>
            <a:ext cx="11090274" cy="3979625"/>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a:extLst>
              <a:ext uri="{FF2B5EF4-FFF2-40B4-BE49-F238E27FC236}">
                <a16:creationId xmlns:a16="http://schemas.microsoft.com/office/drawing/2014/main" id="{4D4EE704-5DCA-484E-85E0-0E3A7B1C5046}"/>
              </a:ext>
            </a:extLst>
          </p:cNvPr>
          <p:cNvSpPr>
            <a:spLocks noGrp="1"/>
          </p:cNvSpPr>
          <p:nvPr>
            <p:ph type="dt" sz="half" idx="10"/>
          </p:nvPr>
        </p:nvSpPr>
        <p:spPr/>
        <p:txBody>
          <a:bodyPr>
            <a:noAutofit/>
          </a:bodyPr>
          <a:lstStyle/>
          <a:p>
            <a:r>
              <a:rPr lang="en-US"/>
              <a:t>Tuesday, February 2, 20XX</a:t>
            </a:r>
          </a:p>
        </p:txBody>
      </p:sp>
      <p:sp>
        <p:nvSpPr>
          <p:cNvPr id="5" name="Footer Placeholder 4">
            <a:extLst>
              <a:ext uri="{FF2B5EF4-FFF2-40B4-BE49-F238E27FC236}">
                <a16:creationId xmlns:a16="http://schemas.microsoft.com/office/drawing/2014/main" id="{4CA69B66-1C18-44A2-93F7-97DED26F24AB}"/>
              </a:ext>
            </a:extLst>
          </p:cNvPr>
          <p:cNvSpPr>
            <a:spLocks noGrp="1"/>
          </p:cNvSpPr>
          <p:nvPr>
            <p:ph type="ftr" sz="quarter" idx="11"/>
          </p:nvPr>
        </p:nvSpPr>
        <p:spPr/>
        <p:txBody>
          <a:bodyPr>
            <a:noAutofit/>
          </a:bodyPr>
          <a:lstStyle/>
          <a:p>
            <a:r>
              <a:rPr lang="en-US"/>
              <a:t>Sample Footer Text</a:t>
            </a:r>
          </a:p>
        </p:txBody>
      </p:sp>
      <p:sp>
        <p:nvSpPr>
          <p:cNvPr id="6" name="Slide Number Placeholder 5">
            <a:extLst>
              <a:ext uri="{FF2B5EF4-FFF2-40B4-BE49-F238E27FC236}">
                <a16:creationId xmlns:a16="http://schemas.microsoft.com/office/drawing/2014/main" id="{7E44B5A0-66FA-433A-8DC5-C097C63B4DFC}"/>
              </a:ext>
            </a:extLst>
          </p:cNvPr>
          <p:cNvSpPr>
            <a:spLocks noGrp="1"/>
          </p:cNvSpPr>
          <p:nvPr>
            <p:ph type="sldNum" sz="quarter" idx="12"/>
          </p:nvPr>
        </p:nvSpPr>
        <p:spPr/>
        <p:txBody>
          <a:bodyPr>
            <a:noAutofit/>
          </a:bodyPr>
          <a:lstStyle/>
          <a:p>
            <a:fld id="{DBA1B0FB-D917-4C8C-928F-313BD683BF39}" type="slidenum">
              <a:rPr lang="en-US" smtClean="0"/>
              <a:t>‹#›</a:t>
            </a:fld>
            <a:endParaRPr lang="en-US"/>
          </a:p>
        </p:txBody>
      </p:sp>
    </p:spTree>
    <p:extLst>
      <p:ext uri="{BB962C8B-B14F-4D97-AF65-F5344CB8AC3E}">
        <p14:creationId xmlns:p14="http://schemas.microsoft.com/office/powerpoint/2010/main" val="361607116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7_Quote">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7062BF5C-3876-4161-B4FF-14CA94D326C6}"/>
              </a:ext>
            </a:extLst>
          </p:cNvPr>
          <p:cNvSpPr>
            <a:spLocks noGrp="1"/>
          </p:cNvSpPr>
          <p:nvPr>
            <p:ph type="title"/>
          </p:nvPr>
        </p:nvSpPr>
        <p:spPr>
          <a:xfrm>
            <a:off x="550864" y="549275"/>
            <a:ext cx="3566160" cy="3384550"/>
          </a:xfrm>
        </p:spPr>
        <p:txBody>
          <a:bodyPr wrap="square" anchor="b" anchorCtr="0">
            <a:noAutofit/>
          </a:bodyPr>
          <a:lstStyle>
            <a:lvl1pPr>
              <a:defRPr sz="4000"/>
            </a:lvl1pPr>
          </a:lstStyle>
          <a:p>
            <a:r>
              <a:rPr lang="en-US"/>
              <a:t>Click to edit Master title style</a:t>
            </a:r>
            <a:endParaRPr lang="en-US" dirty="0"/>
          </a:p>
        </p:txBody>
      </p:sp>
      <p:grpSp>
        <p:nvGrpSpPr>
          <p:cNvPr id="8" name="Group 7">
            <a:extLst>
              <a:ext uri="{FF2B5EF4-FFF2-40B4-BE49-F238E27FC236}">
                <a16:creationId xmlns:a16="http://schemas.microsoft.com/office/drawing/2014/main" id="{B17C5C60-EC4D-410B-9997-0B73289605FD}"/>
              </a:ext>
              <a:ext uri="{C183D7F6-B498-43B3-948B-1728B52AA6E4}">
                <adec:decorative xmlns:adec="http://schemas.microsoft.com/office/drawing/2017/decorative" val="1"/>
              </a:ext>
            </a:extLst>
          </p:cNvPr>
          <p:cNvGrpSpPr/>
          <p:nvPr userDrawn="1"/>
        </p:nvGrpSpPr>
        <p:grpSpPr>
          <a:xfrm>
            <a:off x="10822156" y="4143453"/>
            <a:ext cx="734257" cy="760506"/>
            <a:chOff x="5243759" y="1363788"/>
            <a:chExt cx="734257" cy="760506"/>
          </a:xfrm>
        </p:grpSpPr>
        <p:sp>
          <p:nvSpPr>
            <p:cNvPr id="9" name="Freeform 5">
              <a:extLst>
                <a:ext uri="{FF2B5EF4-FFF2-40B4-BE49-F238E27FC236}">
                  <a16:creationId xmlns:a16="http://schemas.microsoft.com/office/drawing/2014/main" id="{0573155C-3428-4F4F-AE66-A519D777EAAE}"/>
                </a:ext>
              </a:extLst>
            </p:cNvPr>
            <p:cNvSpPr>
              <a:spLocks/>
            </p:cNvSpPr>
            <p:nvPr/>
          </p:nvSpPr>
          <p:spPr bwMode="auto">
            <a:xfrm rot="1800000">
              <a:off x="5356930" y="1363788"/>
              <a:ext cx="621086" cy="364601"/>
            </a:xfrm>
            <a:custGeom>
              <a:avLst/>
              <a:gdLst>
                <a:gd name="T0" fmla="*/ 266 w 540"/>
                <a:gd name="T1" fmla="*/ 0 h 317"/>
                <a:gd name="T2" fmla="*/ 0 w 540"/>
                <a:gd name="T3" fmla="*/ 158 h 317"/>
                <a:gd name="T4" fmla="*/ 266 w 540"/>
                <a:gd name="T5" fmla="*/ 317 h 317"/>
                <a:gd name="T6" fmla="*/ 540 w 540"/>
                <a:gd name="T7" fmla="*/ 158 h 317"/>
                <a:gd name="T8" fmla="*/ 266 w 540"/>
                <a:gd name="T9" fmla="*/ 0 h 317"/>
              </a:gdLst>
              <a:ahLst/>
              <a:cxnLst>
                <a:cxn ang="0">
                  <a:pos x="T0" y="T1"/>
                </a:cxn>
                <a:cxn ang="0">
                  <a:pos x="T2" y="T3"/>
                </a:cxn>
                <a:cxn ang="0">
                  <a:pos x="T4" y="T5"/>
                </a:cxn>
                <a:cxn ang="0">
                  <a:pos x="T6" y="T7"/>
                </a:cxn>
                <a:cxn ang="0">
                  <a:pos x="T8" y="T9"/>
                </a:cxn>
              </a:cxnLst>
              <a:rect l="0" t="0" r="r" b="b"/>
              <a:pathLst>
                <a:path w="540" h="317">
                  <a:moveTo>
                    <a:pt x="266" y="0"/>
                  </a:moveTo>
                  <a:lnTo>
                    <a:pt x="0" y="158"/>
                  </a:lnTo>
                  <a:lnTo>
                    <a:pt x="266" y="317"/>
                  </a:lnTo>
                  <a:lnTo>
                    <a:pt x="540" y="158"/>
                  </a:lnTo>
                  <a:lnTo>
                    <a:pt x="266" y="0"/>
                  </a:lnTo>
                  <a:close/>
                </a:path>
              </a:pathLst>
            </a:custGeom>
            <a:gradFill flip="none" rotWithShape="1">
              <a:gsLst>
                <a:gs pos="20000">
                  <a:schemeClr val="bg2">
                    <a:lumMod val="90000"/>
                    <a:lumOff val="10000"/>
                    <a:alpha val="20000"/>
                  </a:schemeClr>
                </a:gs>
                <a:gs pos="100000">
                  <a:schemeClr val="accent1">
                    <a:lumMod val="60000"/>
                    <a:lumOff val="40000"/>
                    <a:alpha val="20000"/>
                  </a:schemeClr>
                </a:gs>
              </a:gsLst>
              <a:lin ang="0" scaled="0"/>
              <a:tileRect/>
            </a:gradFill>
            <a:ln>
              <a:noFill/>
            </a:ln>
            <a:effectLst>
              <a:innerShdw blurRad="254000">
                <a:schemeClr val="bg2">
                  <a:lumMod val="90000"/>
                  <a:lumOff val="10000"/>
                </a:scheme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0" name="Freeform 6">
              <a:extLst>
                <a:ext uri="{FF2B5EF4-FFF2-40B4-BE49-F238E27FC236}">
                  <a16:creationId xmlns:a16="http://schemas.microsoft.com/office/drawing/2014/main" id="{1853496C-159E-4D47-94B5-0835FB6511BA}"/>
                </a:ext>
              </a:extLst>
            </p:cNvPr>
            <p:cNvSpPr>
              <a:spLocks/>
            </p:cNvSpPr>
            <p:nvPr/>
          </p:nvSpPr>
          <p:spPr bwMode="auto">
            <a:xfrm rot="1800000">
              <a:off x="5243759" y="1430747"/>
              <a:ext cx="305942" cy="538275"/>
            </a:xfrm>
            <a:custGeom>
              <a:avLst/>
              <a:gdLst>
                <a:gd name="T0" fmla="*/ 266 w 266"/>
                <a:gd name="T1" fmla="*/ 468 h 468"/>
                <a:gd name="T2" fmla="*/ 0 w 266"/>
                <a:gd name="T3" fmla="*/ 310 h 468"/>
                <a:gd name="T4" fmla="*/ 0 w 266"/>
                <a:gd name="T5" fmla="*/ 310 h 468"/>
                <a:gd name="T6" fmla="*/ 0 w 266"/>
                <a:gd name="T7" fmla="*/ 0 h 468"/>
                <a:gd name="T8" fmla="*/ 0 w 266"/>
                <a:gd name="T9" fmla="*/ 0 h 468"/>
                <a:gd name="T10" fmla="*/ 266 w 266"/>
                <a:gd name="T11" fmla="*/ 159 h 468"/>
                <a:gd name="T12" fmla="*/ 266 w 266"/>
                <a:gd name="T13" fmla="*/ 468 h 468"/>
              </a:gdLst>
              <a:ahLst/>
              <a:cxnLst>
                <a:cxn ang="0">
                  <a:pos x="T0" y="T1"/>
                </a:cxn>
                <a:cxn ang="0">
                  <a:pos x="T2" y="T3"/>
                </a:cxn>
                <a:cxn ang="0">
                  <a:pos x="T4" y="T5"/>
                </a:cxn>
                <a:cxn ang="0">
                  <a:pos x="T6" y="T7"/>
                </a:cxn>
                <a:cxn ang="0">
                  <a:pos x="T8" y="T9"/>
                </a:cxn>
                <a:cxn ang="0">
                  <a:pos x="T10" y="T11"/>
                </a:cxn>
                <a:cxn ang="0">
                  <a:pos x="T12" y="T13"/>
                </a:cxn>
              </a:cxnLst>
              <a:rect l="0" t="0" r="r" b="b"/>
              <a:pathLst>
                <a:path w="266" h="468">
                  <a:moveTo>
                    <a:pt x="266" y="468"/>
                  </a:moveTo>
                  <a:lnTo>
                    <a:pt x="0" y="310"/>
                  </a:lnTo>
                  <a:lnTo>
                    <a:pt x="0" y="310"/>
                  </a:lnTo>
                  <a:lnTo>
                    <a:pt x="0" y="0"/>
                  </a:lnTo>
                  <a:lnTo>
                    <a:pt x="0" y="0"/>
                  </a:lnTo>
                  <a:lnTo>
                    <a:pt x="266" y="159"/>
                  </a:lnTo>
                  <a:lnTo>
                    <a:pt x="266" y="468"/>
                  </a:lnTo>
                  <a:close/>
                </a:path>
              </a:pathLst>
            </a:custGeom>
            <a:gradFill flip="none" rotWithShape="1">
              <a:gsLst>
                <a:gs pos="20000">
                  <a:schemeClr val="bg2">
                    <a:lumMod val="90000"/>
                    <a:lumOff val="10000"/>
                    <a:alpha val="20000"/>
                  </a:schemeClr>
                </a:gs>
                <a:gs pos="100000">
                  <a:schemeClr val="accent1">
                    <a:lumMod val="60000"/>
                    <a:lumOff val="40000"/>
                    <a:alpha val="20000"/>
                  </a:schemeClr>
                </a:gs>
              </a:gsLst>
              <a:lin ang="19800000" scaled="0"/>
              <a:tileRect/>
            </a:gradFill>
            <a:ln>
              <a:noFill/>
            </a:ln>
            <a:effectLst>
              <a:innerShdw blurRad="254000">
                <a:schemeClr val="bg2">
                  <a:lumMod val="90000"/>
                  <a:lumOff val="10000"/>
                </a:scheme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1" name="Freeform 8">
              <a:extLst>
                <a:ext uri="{FF2B5EF4-FFF2-40B4-BE49-F238E27FC236}">
                  <a16:creationId xmlns:a16="http://schemas.microsoft.com/office/drawing/2014/main" id="{CE93E330-715B-44E8-84D9-CE166D428DAB}"/>
                </a:ext>
              </a:extLst>
            </p:cNvPr>
            <p:cNvSpPr>
              <a:spLocks/>
            </p:cNvSpPr>
            <p:nvPr/>
          </p:nvSpPr>
          <p:spPr bwMode="auto">
            <a:xfrm rot="1800000">
              <a:off x="5508097" y="1586019"/>
              <a:ext cx="315144" cy="538275"/>
            </a:xfrm>
            <a:custGeom>
              <a:avLst/>
              <a:gdLst>
                <a:gd name="T0" fmla="*/ 274 w 274"/>
                <a:gd name="T1" fmla="*/ 0 h 468"/>
                <a:gd name="T2" fmla="*/ 274 w 274"/>
                <a:gd name="T3" fmla="*/ 310 h 468"/>
                <a:gd name="T4" fmla="*/ 274 w 274"/>
                <a:gd name="T5" fmla="*/ 310 h 468"/>
                <a:gd name="T6" fmla="*/ 0 w 274"/>
                <a:gd name="T7" fmla="*/ 468 h 468"/>
                <a:gd name="T8" fmla="*/ 0 w 274"/>
                <a:gd name="T9" fmla="*/ 159 h 468"/>
                <a:gd name="T10" fmla="*/ 274 w 274"/>
                <a:gd name="T11" fmla="*/ 0 h 468"/>
                <a:gd name="T12" fmla="*/ 274 w 274"/>
                <a:gd name="T13" fmla="*/ 0 h 468"/>
              </a:gdLst>
              <a:ahLst/>
              <a:cxnLst>
                <a:cxn ang="0">
                  <a:pos x="T0" y="T1"/>
                </a:cxn>
                <a:cxn ang="0">
                  <a:pos x="T2" y="T3"/>
                </a:cxn>
                <a:cxn ang="0">
                  <a:pos x="T4" y="T5"/>
                </a:cxn>
                <a:cxn ang="0">
                  <a:pos x="T6" y="T7"/>
                </a:cxn>
                <a:cxn ang="0">
                  <a:pos x="T8" y="T9"/>
                </a:cxn>
                <a:cxn ang="0">
                  <a:pos x="T10" y="T11"/>
                </a:cxn>
                <a:cxn ang="0">
                  <a:pos x="T12" y="T13"/>
                </a:cxn>
              </a:cxnLst>
              <a:rect l="0" t="0" r="r" b="b"/>
              <a:pathLst>
                <a:path w="274" h="468">
                  <a:moveTo>
                    <a:pt x="274" y="0"/>
                  </a:moveTo>
                  <a:lnTo>
                    <a:pt x="274" y="310"/>
                  </a:lnTo>
                  <a:lnTo>
                    <a:pt x="274" y="310"/>
                  </a:lnTo>
                  <a:lnTo>
                    <a:pt x="0" y="468"/>
                  </a:lnTo>
                  <a:lnTo>
                    <a:pt x="0" y="159"/>
                  </a:lnTo>
                  <a:lnTo>
                    <a:pt x="274" y="0"/>
                  </a:lnTo>
                  <a:lnTo>
                    <a:pt x="274" y="0"/>
                  </a:lnTo>
                  <a:close/>
                </a:path>
              </a:pathLst>
            </a:custGeom>
            <a:gradFill flip="none" rotWithShape="1">
              <a:gsLst>
                <a:gs pos="20000">
                  <a:schemeClr val="bg2">
                    <a:lumMod val="90000"/>
                    <a:lumOff val="10000"/>
                    <a:alpha val="20000"/>
                  </a:schemeClr>
                </a:gs>
                <a:gs pos="100000">
                  <a:schemeClr val="accent1">
                    <a:lumMod val="60000"/>
                    <a:lumOff val="40000"/>
                    <a:alpha val="20000"/>
                  </a:schemeClr>
                </a:gs>
              </a:gsLst>
              <a:lin ang="18000000" scaled="0"/>
              <a:tileRect/>
            </a:gradFill>
            <a:ln>
              <a:noFill/>
            </a:ln>
            <a:effectLst>
              <a:innerShdw blurRad="254000">
                <a:schemeClr val="accent1">
                  <a:lumMod val="60000"/>
                  <a:lumOff val="40000"/>
                  <a:alpha val="60000"/>
                </a:scheme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grpSp>
      <p:sp>
        <p:nvSpPr>
          <p:cNvPr id="12" name="Oval 11">
            <a:extLst>
              <a:ext uri="{FF2B5EF4-FFF2-40B4-BE49-F238E27FC236}">
                <a16:creationId xmlns:a16="http://schemas.microsoft.com/office/drawing/2014/main" id="{80A2FA6F-99B7-4984-A80C-570644889F02}"/>
              </a:ext>
              <a:ext uri="{C183D7F6-B498-43B3-948B-1728B52AA6E4}">
                <adec:decorative xmlns:adec="http://schemas.microsoft.com/office/drawing/2017/decorative" val="1"/>
              </a:ext>
            </a:extLst>
          </p:cNvPr>
          <p:cNvSpPr>
            <a:spLocks noChangeAspect="1"/>
          </p:cNvSpPr>
          <p:nvPr userDrawn="1"/>
        </p:nvSpPr>
        <p:spPr>
          <a:xfrm>
            <a:off x="5668780" y="5059009"/>
            <a:ext cx="1080000" cy="1080000"/>
          </a:xfrm>
          <a:prstGeom prst="ellipse">
            <a:avLst/>
          </a:prstGeom>
          <a:gradFill flip="none" rotWithShape="1">
            <a:gsLst>
              <a:gs pos="100000">
                <a:schemeClr val="bg2">
                  <a:lumMod val="50000"/>
                  <a:lumOff val="50000"/>
                </a:schemeClr>
              </a:gs>
              <a:gs pos="60000">
                <a:schemeClr val="bg2">
                  <a:lumMod val="100000"/>
                </a:schemeClr>
              </a:gs>
            </a:gsLst>
            <a:path path="circle">
              <a:fillToRect l="100000" b="100000"/>
            </a:path>
            <a:tileRect t="-100000" r="-100000"/>
          </a:gradFill>
          <a:ln>
            <a:noFill/>
          </a:ln>
          <a:effectLst>
            <a:innerShdw blurRad="254000" dist="127000" dir="2700000">
              <a:schemeClr val="accent1">
                <a:lumMod val="60000"/>
                <a:lumOff val="40000"/>
                <a:alpha val="40000"/>
              </a:schemeClr>
            </a:innerShdw>
            <a:softEdge rad="0"/>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7" name="Content Placeholder 16">
            <a:extLst>
              <a:ext uri="{FF2B5EF4-FFF2-40B4-BE49-F238E27FC236}">
                <a16:creationId xmlns:a16="http://schemas.microsoft.com/office/drawing/2014/main" id="{439C8C03-81B3-4DE8-B96A-78258E4467CC}"/>
              </a:ext>
            </a:extLst>
          </p:cNvPr>
          <p:cNvSpPr>
            <a:spLocks noGrp="1"/>
          </p:cNvSpPr>
          <p:nvPr>
            <p:ph sz="quarter" idx="15"/>
          </p:nvPr>
        </p:nvSpPr>
        <p:spPr>
          <a:xfrm>
            <a:off x="550863" y="4097338"/>
            <a:ext cx="3565524" cy="2351087"/>
          </a:xfrm>
        </p:spPr>
        <p:txBody>
          <a:bodyPr>
            <a:noAutofit/>
          </a:bodyPr>
          <a:lstStyle>
            <a:lvl1pPr>
              <a:buNone/>
              <a:defRPr sz="2400"/>
            </a:lvl1pPr>
            <a:lvl2pPr>
              <a:defRPr sz="2000"/>
            </a:lvl2pPr>
            <a:lvl3pPr>
              <a:defRPr sz="2000"/>
            </a:lvl3pPr>
            <a:lvl4pPr>
              <a:defRPr sz="2000"/>
            </a:lvl4pPr>
            <a:lvl5pPr>
              <a:defRPr sz="2000"/>
            </a:lvl5pPr>
          </a:lstStyle>
          <a:p>
            <a:pPr lvl="0"/>
            <a:r>
              <a:rPr lang="en-US"/>
              <a:t>Click to edit Master text styles</a:t>
            </a:r>
          </a:p>
        </p:txBody>
      </p:sp>
      <p:sp>
        <p:nvSpPr>
          <p:cNvPr id="15" name="Picture Placeholder 14">
            <a:extLst>
              <a:ext uri="{FF2B5EF4-FFF2-40B4-BE49-F238E27FC236}">
                <a16:creationId xmlns:a16="http://schemas.microsoft.com/office/drawing/2014/main" id="{C1FBB56D-C8B1-4ED9-A5DB-72BA636DADF3}"/>
              </a:ext>
            </a:extLst>
          </p:cNvPr>
          <p:cNvSpPr>
            <a:spLocks noGrp="1"/>
          </p:cNvSpPr>
          <p:nvPr>
            <p:ph type="pic" sz="quarter" idx="13"/>
          </p:nvPr>
        </p:nvSpPr>
        <p:spPr>
          <a:xfrm>
            <a:off x="5535809" y="656633"/>
            <a:ext cx="5132388" cy="5132388"/>
          </a:xfrm>
          <a:custGeom>
            <a:avLst/>
            <a:gdLst>
              <a:gd name="connsiteX0" fmla="*/ 2566194 w 5132388"/>
              <a:gd name="connsiteY0" fmla="*/ 0 h 5132388"/>
              <a:gd name="connsiteX1" fmla="*/ 5132388 w 5132388"/>
              <a:gd name="connsiteY1" fmla="*/ 2566194 h 5132388"/>
              <a:gd name="connsiteX2" fmla="*/ 2566194 w 5132388"/>
              <a:gd name="connsiteY2" fmla="*/ 5132388 h 5132388"/>
              <a:gd name="connsiteX3" fmla="*/ 0 w 5132388"/>
              <a:gd name="connsiteY3" fmla="*/ 2566194 h 5132388"/>
              <a:gd name="connsiteX4" fmla="*/ 2566194 w 5132388"/>
              <a:gd name="connsiteY4" fmla="*/ 0 h 51323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32388" h="5132388">
                <a:moveTo>
                  <a:pt x="2566194" y="0"/>
                </a:moveTo>
                <a:cubicBezTo>
                  <a:pt x="3983464" y="0"/>
                  <a:pt x="5132388" y="1148924"/>
                  <a:pt x="5132388" y="2566194"/>
                </a:cubicBezTo>
                <a:cubicBezTo>
                  <a:pt x="5132388" y="3983464"/>
                  <a:pt x="3983464" y="5132388"/>
                  <a:pt x="2566194" y="5132388"/>
                </a:cubicBezTo>
                <a:cubicBezTo>
                  <a:pt x="1148924" y="5132388"/>
                  <a:pt x="0" y="3983464"/>
                  <a:pt x="0" y="2566194"/>
                </a:cubicBezTo>
                <a:cubicBezTo>
                  <a:pt x="0" y="1148924"/>
                  <a:pt x="1148924" y="0"/>
                  <a:pt x="2566194" y="0"/>
                </a:cubicBezTo>
                <a:close/>
              </a:path>
            </a:pathLst>
          </a:custGeom>
          <a:solidFill>
            <a:schemeClr val="accent5"/>
          </a:solidFill>
        </p:spPr>
        <p:txBody>
          <a:bodyPr wrap="square">
            <a:noAutofit/>
          </a:bodyPr>
          <a:lstStyle/>
          <a:p>
            <a:r>
              <a:rPr lang="en-US"/>
              <a:t>Click icon to add picture</a:t>
            </a:r>
          </a:p>
        </p:txBody>
      </p:sp>
      <p:sp>
        <p:nvSpPr>
          <p:cNvPr id="2" name="Date Placeholder 1">
            <a:extLst>
              <a:ext uri="{FF2B5EF4-FFF2-40B4-BE49-F238E27FC236}">
                <a16:creationId xmlns:a16="http://schemas.microsoft.com/office/drawing/2014/main" id="{AB81B449-7B97-41DC-B23F-65EDCBD316A6}"/>
              </a:ext>
            </a:extLst>
          </p:cNvPr>
          <p:cNvSpPr>
            <a:spLocks noGrp="1"/>
          </p:cNvSpPr>
          <p:nvPr>
            <p:ph type="dt" sz="half" idx="10"/>
          </p:nvPr>
        </p:nvSpPr>
        <p:spPr/>
        <p:txBody>
          <a:bodyPr>
            <a:noAutofit/>
          </a:bodyPr>
          <a:lstStyle/>
          <a:p>
            <a:r>
              <a:rPr lang="en-US"/>
              <a:t>Tuesday, February 2, 20XX</a:t>
            </a:r>
          </a:p>
        </p:txBody>
      </p:sp>
      <p:sp>
        <p:nvSpPr>
          <p:cNvPr id="3" name="Footer Placeholder 2">
            <a:extLst>
              <a:ext uri="{FF2B5EF4-FFF2-40B4-BE49-F238E27FC236}">
                <a16:creationId xmlns:a16="http://schemas.microsoft.com/office/drawing/2014/main" id="{7C6B46D5-337B-4906-8412-4EEA3884FA7E}"/>
              </a:ext>
            </a:extLst>
          </p:cNvPr>
          <p:cNvSpPr>
            <a:spLocks noGrp="1"/>
          </p:cNvSpPr>
          <p:nvPr>
            <p:ph type="ftr" sz="quarter" idx="11"/>
          </p:nvPr>
        </p:nvSpPr>
        <p:spPr/>
        <p:txBody>
          <a:bodyPr>
            <a:noAutofit/>
          </a:bodyPr>
          <a:lstStyle/>
          <a:p>
            <a:r>
              <a:rPr lang="en-US"/>
              <a:t>Sample Footer Text</a:t>
            </a:r>
          </a:p>
        </p:txBody>
      </p:sp>
      <p:sp>
        <p:nvSpPr>
          <p:cNvPr id="4" name="Slide Number Placeholder 3">
            <a:extLst>
              <a:ext uri="{FF2B5EF4-FFF2-40B4-BE49-F238E27FC236}">
                <a16:creationId xmlns:a16="http://schemas.microsoft.com/office/drawing/2014/main" id="{E436F230-C9A7-407A-B923-873839C8D8A0}"/>
              </a:ext>
            </a:extLst>
          </p:cNvPr>
          <p:cNvSpPr>
            <a:spLocks noGrp="1"/>
          </p:cNvSpPr>
          <p:nvPr>
            <p:ph type="sldNum" sz="quarter" idx="12"/>
          </p:nvPr>
        </p:nvSpPr>
        <p:spPr/>
        <p:txBody>
          <a:bodyPr>
            <a:noAutofit/>
          </a:bodyPr>
          <a:lstStyle/>
          <a:p>
            <a:fld id="{DBA1B0FB-D917-4C8C-928F-313BD683BF39}" type="slidenum">
              <a:rPr lang="en-US" smtClean="0"/>
              <a:t>‹#›</a:t>
            </a:fld>
            <a:endParaRPr lang="en-US"/>
          </a:p>
        </p:txBody>
      </p:sp>
    </p:spTree>
    <p:extLst>
      <p:ext uri="{BB962C8B-B14F-4D97-AF65-F5344CB8AC3E}">
        <p14:creationId xmlns:p14="http://schemas.microsoft.com/office/powerpoint/2010/main" val="306308716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8_Team">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E38C6F9E-A74F-4F54-9409-B6B93DF8CE78}"/>
              </a:ext>
              <a:ext uri="{C183D7F6-B498-43B3-948B-1728B52AA6E4}">
                <adec:decorative xmlns:adec="http://schemas.microsoft.com/office/drawing/2017/decorative" val="1"/>
              </a:ext>
            </a:extLst>
          </p:cNvPr>
          <p:cNvSpPr/>
          <p:nvPr userDrawn="1"/>
        </p:nvSpPr>
        <p:spPr>
          <a:xfrm>
            <a:off x="0" y="5773729"/>
            <a:ext cx="12192000" cy="1084271"/>
          </a:xfrm>
          <a:prstGeom prst="rect">
            <a:avLst/>
          </a:prstGeom>
          <a:gradFill flip="none" rotWithShape="1">
            <a:gsLst>
              <a:gs pos="100000">
                <a:schemeClr val="bg2">
                  <a:alpha val="60000"/>
                </a:schemeClr>
              </a:gs>
              <a:gs pos="40000">
                <a:schemeClr val="bg2">
                  <a:alpha val="0"/>
                </a:schemeClr>
              </a:gs>
            </a:gsLst>
            <a:lin ang="5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sp>
        <p:nvSpPr>
          <p:cNvPr id="34" name="Oval 33">
            <a:extLst>
              <a:ext uri="{FF2B5EF4-FFF2-40B4-BE49-F238E27FC236}">
                <a16:creationId xmlns:a16="http://schemas.microsoft.com/office/drawing/2014/main" id="{6F0F71C5-78A4-4793-9BD4-3DF0EE3E3EB7}"/>
              </a:ext>
              <a:ext uri="{C183D7F6-B498-43B3-948B-1728B52AA6E4}">
                <adec:decorative xmlns:adec="http://schemas.microsoft.com/office/drawing/2017/decorative" val="1"/>
              </a:ext>
            </a:extLst>
          </p:cNvPr>
          <p:cNvSpPr>
            <a:spLocks noChangeAspect="1"/>
          </p:cNvSpPr>
          <p:nvPr userDrawn="1"/>
        </p:nvSpPr>
        <p:spPr>
          <a:xfrm>
            <a:off x="10288775" y="762609"/>
            <a:ext cx="1080000" cy="1080000"/>
          </a:xfrm>
          <a:prstGeom prst="ellipse">
            <a:avLst/>
          </a:prstGeom>
          <a:gradFill flip="none" rotWithShape="1">
            <a:gsLst>
              <a:gs pos="100000">
                <a:schemeClr val="bg2">
                  <a:lumMod val="50000"/>
                  <a:lumOff val="50000"/>
                </a:schemeClr>
              </a:gs>
              <a:gs pos="60000">
                <a:schemeClr val="bg2">
                  <a:lumMod val="100000"/>
                </a:schemeClr>
              </a:gs>
            </a:gsLst>
            <a:path path="circle">
              <a:fillToRect l="100000" b="100000"/>
            </a:path>
            <a:tileRect t="-100000" r="-100000"/>
          </a:gradFill>
          <a:ln>
            <a:noFill/>
          </a:ln>
          <a:effectLst>
            <a:innerShdw blurRad="254000" dist="127000" dir="2700000">
              <a:schemeClr val="accent1">
                <a:lumMod val="60000"/>
                <a:lumOff val="40000"/>
                <a:alpha val="40000"/>
              </a:schemeClr>
            </a:innerShdw>
            <a:softEdge rad="0"/>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40" name="Title 5">
            <a:extLst>
              <a:ext uri="{FF2B5EF4-FFF2-40B4-BE49-F238E27FC236}">
                <a16:creationId xmlns:a16="http://schemas.microsoft.com/office/drawing/2014/main" id="{36F60F77-4CC9-4F86-B70A-85012C6588A0}"/>
              </a:ext>
            </a:extLst>
          </p:cNvPr>
          <p:cNvSpPr>
            <a:spLocks noGrp="1"/>
          </p:cNvSpPr>
          <p:nvPr>
            <p:ph type="ctrTitle" hasCustomPrompt="1"/>
          </p:nvPr>
        </p:nvSpPr>
        <p:spPr>
          <a:xfrm>
            <a:off x="548640" y="548640"/>
            <a:ext cx="8281987" cy="1253041"/>
          </a:xfrm>
        </p:spPr>
        <p:txBody>
          <a:bodyPr>
            <a:noAutofit/>
          </a:bodyPr>
          <a:lstStyle/>
          <a:p>
            <a:r>
              <a:rPr lang="en-US" dirty="0"/>
              <a:t>Team</a:t>
            </a:r>
          </a:p>
        </p:txBody>
      </p:sp>
      <p:grpSp>
        <p:nvGrpSpPr>
          <p:cNvPr id="51" name="Group 50">
            <a:extLst>
              <a:ext uri="{FF2B5EF4-FFF2-40B4-BE49-F238E27FC236}">
                <a16:creationId xmlns:a16="http://schemas.microsoft.com/office/drawing/2014/main" id="{E6093F87-C1F6-4FAB-B891-6F7D7FC20751}"/>
              </a:ext>
              <a:ext uri="{C183D7F6-B498-43B3-948B-1728B52AA6E4}">
                <adec:decorative xmlns:adec="http://schemas.microsoft.com/office/drawing/2017/decorative" val="1"/>
              </a:ext>
            </a:extLst>
          </p:cNvPr>
          <p:cNvGrpSpPr/>
          <p:nvPr userDrawn="1"/>
        </p:nvGrpSpPr>
        <p:grpSpPr>
          <a:xfrm>
            <a:off x="1800565" y="4518946"/>
            <a:ext cx="1980001" cy="1363916"/>
            <a:chOff x="4879602" y="3781429"/>
            <a:chExt cx="1980001" cy="1363916"/>
          </a:xfrm>
        </p:grpSpPr>
        <p:sp>
          <p:nvSpPr>
            <p:cNvPr id="52" name="Freeform: Shape 51">
              <a:extLst>
                <a:ext uri="{FF2B5EF4-FFF2-40B4-BE49-F238E27FC236}">
                  <a16:creationId xmlns:a16="http://schemas.microsoft.com/office/drawing/2014/main" id="{E1A4FD5C-1E5B-46D1-BA9D-99928D19AF04}"/>
                </a:ext>
              </a:extLst>
            </p:cNvPr>
            <p:cNvSpPr>
              <a:spLocks noChangeAspect="1"/>
            </p:cNvSpPr>
            <p:nvPr/>
          </p:nvSpPr>
          <p:spPr>
            <a:xfrm rot="18900000" flipV="1">
              <a:off x="5005634" y="4191206"/>
              <a:ext cx="1853969" cy="926985"/>
            </a:xfrm>
            <a:custGeom>
              <a:avLst/>
              <a:gdLst>
                <a:gd name="connsiteX0" fmla="*/ 1329373 w 2658746"/>
                <a:gd name="connsiteY0" fmla="*/ 0 h 1329373"/>
                <a:gd name="connsiteX1" fmla="*/ 2658746 w 2658746"/>
                <a:gd name="connsiteY1" fmla="*/ 1329373 h 1329373"/>
                <a:gd name="connsiteX2" fmla="*/ 1994059 w 2658746"/>
                <a:gd name="connsiteY2" fmla="*/ 1329373 h 1329373"/>
                <a:gd name="connsiteX3" fmla="*/ 1329373 w 2658746"/>
                <a:gd name="connsiteY3" fmla="*/ 664687 h 1329373"/>
                <a:gd name="connsiteX4" fmla="*/ 664687 w 2658746"/>
                <a:gd name="connsiteY4" fmla="*/ 1329373 h 1329373"/>
                <a:gd name="connsiteX5" fmla="*/ 0 w 2658746"/>
                <a:gd name="connsiteY5" fmla="*/ 1329373 h 1329373"/>
                <a:gd name="connsiteX6" fmla="*/ 1329373 w 2658746"/>
                <a:gd name="connsiteY6" fmla="*/ 0 h 1329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58746" h="1329373">
                  <a:moveTo>
                    <a:pt x="1329373" y="0"/>
                  </a:moveTo>
                  <a:cubicBezTo>
                    <a:pt x="2063565" y="0"/>
                    <a:pt x="2658746" y="595181"/>
                    <a:pt x="2658746" y="1329373"/>
                  </a:cubicBezTo>
                  <a:lnTo>
                    <a:pt x="1994059" y="1329373"/>
                  </a:lnTo>
                  <a:cubicBezTo>
                    <a:pt x="1994059" y="962277"/>
                    <a:pt x="1696469" y="664687"/>
                    <a:pt x="1329373" y="664687"/>
                  </a:cubicBezTo>
                  <a:cubicBezTo>
                    <a:pt x="962277" y="664687"/>
                    <a:pt x="664687" y="962277"/>
                    <a:pt x="664687" y="1329373"/>
                  </a:cubicBezTo>
                  <a:lnTo>
                    <a:pt x="0" y="1329373"/>
                  </a:lnTo>
                  <a:cubicBezTo>
                    <a:pt x="0" y="595181"/>
                    <a:pt x="595181" y="0"/>
                    <a:pt x="1329373" y="0"/>
                  </a:cubicBezTo>
                  <a:close/>
                </a:path>
              </a:pathLst>
            </a:custGeom>
            <a:solidFill>
              <a:schemeClr val="bg2"/>
            </a:solidFill>
            <a:ln>
              <a:noFill/>
            </a:ln>
            <a:effectLst>
              <a:innerShdw blurRad="254000" dist="50800" dir="16200000">
                <a:schemeClr val="accent1">
                  <a:lumMod val="40000"/>
                  <a:lumOff val="60000"/>
                  <a:alpha val="40000"/>
                </a:scheme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sp>
          <p:nvSpPr>
            <p:cNvPr id="53" name="Freeform: Shape 52">
              <a:extLst>
                <a:ext uri="{FF2B5EF4-FFF2-40B4-BE49-F238E27FC236}">
                  <a16:creationId xmlns:a16="http://schemas.microsoft.com/office/drawing/2014/main" id="{B7DF0ED5-A971-408F-A055-C7E5D7A623CD}"/>
                </a:ext>
              </a:extLst>
            </p:cNvPr>
            <p:cNvSpPr>
              <a:spLocks noChangeAspect="1"/>
            </p:cNvSpPr>
            <p:nvPr/>
          </p:nvSpPr>
          <p:spPr>
            <a:xfrm rot="18900000" flipV="1">
              <a:off x="4957101" y="4052255"/>
              <a:ext cx="1853969" cy="1093090"/>
            </a:xfrm>
            <a:custGeom>
              <a:avLst/>
              <a:gdLst>
                <a:gd name="connsiteX0" fmla="*/ 1329373 w 2658746"/>
                <a:gd name="connsiteY0" fmla="*/ 0 h 1329373"/>
                <a:gd name="connsiteX1" fmla="*/ 2658746 w 2658746"/>
                <a:gd name="connsiteY1" fmla="*/ 1329373 h 1329373"/>
                <a:gd name="connsiteX2" fmla="*/ 1994059 w 2658746"/>
                <a:gd name="connsiteY2" fmla="*/ 1329373 h 1329373"/>
                <a:gd name="connsiteX3" fmla="*/ 1329373 w 2658746"/>
                <a:gd name="connsiteY3" fmla="*/ 664687 h 1329373"/>
                <a:gd name="connsiteX4" fmla="*/ 664687 w 2658746"/>
                <a:gd name="connsiteY4" fmla="*/ 1329373 h 1329373"/>
                <a:gd name="connsiteX5" fmla="*/ 0 w 2658746"/>
                <a:gd name="connsiteY5" fmla="*/ 1329373 h 1329373"/>
                <a:gd name="connsiteX6" fmla="*/ 1329373 w 2658746"/>
                <a:gd name="connsiteY6" fmla="*/ 0 h 1329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58746" h="1329373">
                  <a:moveTo>
                    <a:pt x="1329373" y="0"/>
                  </a:moveTo>
                  <a:cubicBezTo>
                    <a:pt x="2063565" y="0"/>
                    <a:pt x="2658746" y="595181"/>
                    <a:pt x="2658746" y="1329373"/>
                  </a:cubicBezTo>
                  <a:lnTo>
                    <a:pt x="1994059" y="1329373"/>
                  </a:lnTo>
                  <a:cubicBezTo>
                    <a:pt x="1994059" y="962277"/>
                    <a:pt x="1696469" y="664687"/>
                    <a:pt x="1329373" y="664687"/>
                  </a:cubicBezTo>
                  <a:cubicBezTo>
                    <a:pt x="962277" y="664687"/>
                    <a:pt x="664687" y="962277"/>
                    <a:pt x="664687" y="1329373"/>
                  </a:cubicBezTo>
                  <a:lnTo>
                    <a:pt x="0" y="1329373"/>
                  </a:lnTo>
                  <a:cubicBezTo>
                    <a:pt x="0" y="595181"/>
                    <a:pt x="595181" y="0"/>
                    <a:pt x="1329373" y="0"/>
                  </a:cubicBezTo>
                  <a:close/>
                </a:path>
              </a:pathLst>
            </a:custGeom>
            <a:solidFill>
              <a:schemeClr val="bg2">
                <a:lumMod val="50000"/>
                <a:lumOff val="50000"/>
                <a:alpha val="40000"/>
              </a:schemeClr>
            </a:solidFill>
            <a:ln>
              <a:noFill/>
            </a:ln>
            <a:effectLst>
              <a:softEdge rad="190500"/>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solidFill>
                  <a:schemeClr val="tx1"/>
                </a:solidFill>
              </a:endParaRPr>
            </a:p>
          </p:txBody>
        </p:sp>
        <p:sp>
          <p:nvSpPr>
            <p:cNvPr id="54" name="Oval 53">
              <a:extLst>
                <a:ext uri="{FF2B5EF4-FFF2-40B4-BE49-F238E27FC236}">
                  <a16:creationId xmlns:a16="http://schemas.microsoft.com/office/drawing/2014/main" id="{AA81F353-4C5B-4A37-9846-2C1E2D0FC25F}"/>
                </a:ext>
              </a:extLst>
            </p:cNvPr>
            <p:cNvSpPr/>
            <p:nvPr/>
          </p:nvSpPr>
          <p:spPr>
            <a:xfrm rot="13500000" flipV="1">
              <a:off x="6040374" y="3601683"/>
              <a:ext cx="107098" cy="466589"/>
            </a:xfrm>
            <a:prstGeom prst="ellipse">
              <a:avLst/>
            </a:prstGeom>
            <a:solidFill>
              <a:schemeClr val="bg2">
                <a:lumMod val="90000"/>
                <a:lumOff val="10000"/>
              </a:schemeClr>
            </a:solidFill>
            <a:ln>
              <a:noFill/>
            </a:ln>
            <a:effectLst>
              <a:innerShdw blurRad="63500" dist="2540000">
                <a:schemeClr val="accent1">
                  <a:lumMod val="60000"/>
                  <a:lumOff val="40000"/>
                  <a:alpha val="0"/>
                </a:scheme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55" name="Oval 54">
              <a:extLst>
                <a:ext uri="{FF2B5EF4-FFF2-40B4-BE49-F238E27FC236}">
                  <a16:creationId xmlns:a16="http://schemas.microsoft.com/office/drawing/2014/main" id="{42B74EA3-11CE-4D3F-99AD-162563447653}"/>
                </a:ext>
              </a:extLst>
            </p:cNvPr>
            <p:cNvSpPr/>
            <p:nvPr/>
          </p:nvSpPr>
          <p:spPr>
            <a:xfrm rot="13500000" flipV="1">
              <a:off x="5059348" y="4582709"/>
              <a:ext cx="107098" cy="466589"/>
            </a:xfrm>
            <a:prstGeom prst="ellipse">
              <a:avLst/>
            </a:prstGeom>
            <a:solidFill>
              <a:schemeClr val="bg2">
                <a:lumMod val="90000"/>
                <a:lumOff val="10000"/>
              </a:schemeClr>
            </a:solidFill>
            <a:ln>
              <a:noFill/>
            </a:ln>
            <a:effectLst>
              <a:innerShdw blurRad="63500" dist="2540000">
                <a:schemeClr val="accent1">
                  <a:lumMod val="60000"/>
                  <a:lumOff val="40000"/>
                  <a:alpha val="0"/>
                </a:scheme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grpSp>
      <p:sp>
        <p:nvSpPr>
          <p:cNvPr id="56" name="Picture Placeholder 55">
            <a:extLst>
              <a:ext uri="{FF2B5EF4-FFF2-40B4-BE49-F238E27FC236}">
                <a16:creationId xmlns:a16="http://schemas.microsoft.com/office/drawing/2014/main" id="{8F41896B-6DDA-4F82-9F74-3EBF93A3CD58}"/>
              </a:ext>
            </a:extLst>
          </p:cNvPr>
          <p:cNvSpPr>
            <a:spLocks noGrp="1"/>
          </p:cNvSpPr>
          <p:nvPr>
            <p:ph type="pic" sz="quarter" idx="13"/>
          </p:nvPr>
        </p:nvSpPr>
        <p:spPr>
          <a:xfrm>
            <a:off x="1078992" y="1990724"/>
            <a:ext cx="1691640" cy="1435608"/>
          </a:xfrm>
          <a:solidFill>
            <a:schemeClr val="accent5"/>
          </a:solidFill>
        </p:spPr>
        <p:txBody>
          <a:bodyPr>
            <a:noAutofit/>
          </a:bodyPr>
          <a:lstStyle/>
          <a:p>
            <a:r>
              <a:rPr lang="en-US"/>
              <a:t>Click icon to add picture</a:t>
            </a:r>
          </a:p>
        </p:txBody>
      </p:sp>
      <p:sp>
        <p:nvSpPr>
          <p:cNvPr id="57" name="Picture Placeholder 55">
            <a:extLst>
              <a:ext uri="{FF2B5EF4-FFF2-40B4-BE49-F238E27FC236}">
                <a16:creationId xmlns:a16="http://schemas.microsoft.com/office/drawing/2014/main" id="{EF85499B-C29A-4C8B-922C-7CE4771E352C}"/>
              </a:ext>
            </a:extLst>
          </p:cNvPr>
          <p:cNvSpPr>
            <a:spLocks noGrp="1"/>
          </p:cNvSpPr>
          <p:nvPr>
            <p:ph type="pic" sz="quarter" idx="14"/>
          </p:nvPr>
        </p:nvSpPr>
        <p:spPr>
          <a:xfrm>
            <a:off x="3838384" y="1990724"/>
            <a:ext cx="1691640" cy="1435608"/>
          </a:xfrm>
          <a:solidFill>
            <a:schemeClr val="accent5"/>
          </a:solidFill>
        </p:spPr>
        <p:txBody>
          <a:bodyPr>
            <a:noAutofit/>
          </a:bodyPr>
          <a:lstStyle/>
          <a:p>
            <a:r>
              <a:rPr lang="en-US"/>
              <a:t>Click icon to add picture</a:t>
            </a:r>
          </a:p>
        </p:txBody>
      </p:sp>
      <p:sp>
        <p:nvSpPr>
          <p:cNvPr id="58" name="Picture Placeholder 55">
            <a:extLst>
              <a:ext uri="{FF2B5EF4-FFF2-40B4-BE49-F238E27FC236}">
                <a16:creationId xmlns:a16="http://schemas.microsoft.com/office/drawing/2014/main" id="{F82A1DB8-0AE7-4E17-B07B-FCF45B85EE17}"/>
              </a:ext>
            </a:extLst>
          </p:cNvPr>
          <p:cNvSpPr>
            <a:spLocks noGrp="1"/>
          </p:cNvSpPr>
          <p:nvPr>
            <p:ph type="pic" sz="quarter" idx="15"/>
          </p:nvPr>
        </p:nvSpPr>
        <p:spPr>
          <a:xfrm>
            <a:off x="6661976" y="1993392"/>
            <a:ext cx="1691640" cy="1435608"/>
          </a:xfrm>
          <a:solidFill>
            <a:schemeClr val="accent5"/>
          </a:solidFill>
        </p:spPr>
        <p:txBody>
          <a:bodyPr>
            <a:noAutofit/>
          </a:bodyPr>
          <a:lstStyle/>
          <a:p>
            <a:r>
              <a:rPr lang="en-US"/>
              <a:t>Click icon to add picture</a:t>
            </a:r>
            <a:endParaRPr lang="en-US" dirty="0"/>
          </a:p>
        </p:txBody>
      </p:sp>
      <p:sp>
        <p:nvSpPr>
          <p:cNvPr id="59" name="Picture Placeholder 55">
            <a:extLst>
              <a:ext uri="{FF2B5EF4-FFF2-40B4-BE49-F238E27FC236}">
                <a16:creationId xmlns:a16="http://schemas.microsoft.com/office/drawing/2014/main" id="{A83EEB6C-83B7-471D-B5A4-4071534048D2}"/>
              </a:ext>
            </a:extLst>
          </p:cNvPr>
          <p:cNvSpPr>
            <a:spLocks noGrp="1"/>
          </p:cNvSpPr>
          <p:nvPr>
            <p:ph type="pic" sz="quarter" idx="16"/>
          </p:nvPr>
        </p:nvSpPr>
        <p:spPr>
          <a:xfrm>
            <a:off x="9485568" y="1990724"/>
            <a:ext cx="1691640" cy="1435608"/>
          </a:xfrm>
          <a:solidFill>
            <a:schemeClr val="accent5"/>
          </a:solidFill>
        </p:spPr>
        <p:txBody>
          <a:bodyPr>
            <a:noAutofit/>
          </a:bodyPr>
          <a:lstStyle/>
          <a:p>
            <a:r>
              <a:rPr lang="en-US"/>
              <a:t>Click icon to add picture</a:t>
            </a:r>
          </a:p>
        </p:txBody>
      </p:sp>
      <p:sp>
        <p:nvSpPr>
          <p:cNvPr id="63" name="Text Placeholder 62">
            <a:extLst>
              <a:ext uri="{FF2B5EF4-FFF2-40B4-BE49-F238E27FC236}">
                <a16:creationId xmlns:a16="http://schemas.microsoft.com/office/drawing/2014/main" id="{17A96A8C-F792-485A-9BB9-4DEDCA0CE6B8}"/>
              </a:ext>
            </a:extLst>
          </p:cNvPr>
          <p:cNvSpPr>
            <a:spLocks noGrp="1"/>
          </p:cNvSpPr>
          <p:nvPr>
            <p:ph type="body" sz="quarter" idx="18" hasCustomPrompt="1"/>
          </p:nvPr>
        </p:nvSpPr>
        <p:spPr>
          <a:xfrm>
            <a:off x="1079500" y="3781425"/>
            <a:ext cx="1711325" cy="365760"/>
          </a:xfrm>
        </p:spPr>
        <p:txBody>
          <a:bodyPr>
            <a:noAutofit/>
          </a:bodyPr>
          <a:lstStyle>
            <a:lvl1pPr>
              <a:buNone/>
              <a:defRPr sz="2000" b="1"/>
            </a:lvl1pPr>
          </a:lstStyle>
          <a:p>
            <a:pPr lvl="0"/>
            <a:r>
              <a:rPr lang="en-US" dirty="0"/>
              <a:t>Name</a:t>
            </a:r>
          </a:p>
        </p:txBody>
      </p:sp>
      <p:sp>
        <p:nvSpPr>
          <p:cNvPr id="61" name="Text Placeholder 60">
            <a:extLst>
              <a:ext uri="{FF2B5EF4-FFF2-40B4-BE49-F238E27FC236}">
                <a16:creationId xmlns:a16="http://schemas.microsoft.com/office/drawing/2014/main" id="{6C65AE07-519E-4E3B-8521-621C8343914D}"/>
              </a:ext>
            </a:extLst>
          </p:cNvPr>
          <p:cNvSpPr>
            <a:spLocks noGrp="1"/>
          </p:cNvSpPr>
          <p:nvPr>
            <p:ph type="body" sz="quarter" idx="17" hasCustomPrompt="1"/>
          </p:nvPr>
        </p:nvSpPr>
        <p:spPr>
          <a:xfrm>
            <a:off x="1078733" y="4232949"/>
            <a:ext cx="1711572" cy="638175"/>
          </a:xfrm>
        </p:spPr>
        <p:txBody>
          <a:bodyPr>
            <a:noAutofit/>
          </a:bodyPr>
          <a:lstStyle>
            <a:lvl1pPr>
              <a:buNone/>
              <a:defRPr sz="1800"/>
            </a:lvl1pPr>
          </a:lstStyle>
          <a:p>
            <a:pPr lvl="0"/>
            <a:r>
              <a:rPr lang="en-US" dirty="0"/>
              <a:t>Title</a:t>
            </a:r>
          </a:p>
        </p:txBody>
      </p:sp>
      <p:sp>
        <p:nvSpPr>
          <p:cNvPr id="65" name="Text Placeholder 62">
            <a:extLst>
              <a:ext uri="{FF2B5EF4-FFF2-40B4-BE49-F238E27FC236}">
                <a16:creationId xmlns:a16="http://schemas.microsoft.com/office/drawing/2014/main" id="{FB878318-C287-428B-8105-429BC4B03F55}"/>
              </a:ext>
            </a:extLst>
          </p:cNvPr>
          <p:cNvSpPr>
            <a:spLocks noGrp="1"/>
          </p:cNvSpPr>
          <p:nvPr>
            <p:ph type="body" sz="quarter" idx="20" hasCustomPrompt="1"/>
          </p:nvPr>
        </p:nvSpPr>
        <p:spPr>
          <a:xfrm>
            <a:off x="3839151" y="3781425"/>
            <a:ext cx="1711325" cy="365760"/>
          </a:xfrm>
        </p:spPr>
        <p:txBody>
          <a:bodyPr>
            <a:noAutofit/>
          </a:bodyPr>
          <a:lstStyle>
            <a:lvl1pPr>
              <a:buNone/>
              <a:defRPr sz="2000" b="1"/>
            </a:lvl1pPr>
          </a:lstStyle>
          <a:p>
            <a:pPr lvl="0"/>
            <a:r>
              <a:rPr lang="en-US" dirty="0"/>
              <a:t>Name</a:t>
            </a:r>
          </a:p>
        </p:txBody>
      </p:sp>
      <p:sp>
        <p:nvSpPr>
          <p:cNvPr id="64" name="Text Placeholder 60">
            <a:extLst>
              <a:ext uri="{FF2B5EF4-FFF2-40B4-BE49-F238E27FC236}">
                <a16:creationId xmlns:a16="http://schemas.microsoft.com/office/drawing/2014/main" id="{1465E516-2CEF-4F9E-9375-7D41DCFCBB41}"/>
              </a:ext>
            </a:extLst>
          </p:cNvPr>
          <p:cNvSpPr>
            <a:spLocks noGrp="1"/>
          </p:cNvSpPr>
          <p:nvPr>
            <p:ph type="body" sz="quarter" idx="19" hasCustomPrompt="1"/>
          </p:nvPr>
        </p:nvSpPr>
        <p:spPr>
          <a:xfrm>
            <a:off x="3838384" y="4232949"/>
            <a:ext cx="1711572" cy="638175"/>
          </a:xfrm>
        </p:spPr>
        <p:txBody>
          <a:bodyPr>
            <a:noAutofit/>
          </a:bodyPr>
          <a:lstStyle>
            <a:lvl1pPr>
              <a:buNone/>
              <a:defRPr sz="1800"/>
            </a:lvl1pPr>
          </a:lstStyle>
          <a:p>
            <a:pPr lvl="0"/>
            <a:r>
              <a:rPr lang="en-US" dirty="0"/>
              <a:t>Title</a:t>
            </a:r>
          </a:p>
        </p:txBody>
      </p:sp>
      <p:sp>
        <p:nvSpPr>
          <p:cNvPr id="67" name="Text Placeholder 62">
            <a:extLst>
              <a:ext uri="{FF2B5EF4-FFF2-40B4-BE49-F238E27FC236}">
                <a16:creationId xmlns:a16="http://schemas.microsoft.com/office/drawing/2014/main" id="{FE012CE3-36AA-4016-A88E-27BCFFEFD69F}"/>
              </a:ext>
            </a:extLst>
          </p:cNvPr>
          <p:cNvSpPr>
            <a:spLocks noGrp="1"/>
          </p:cNvSpPr>
          <p:nvPr>
            <p:ph type="body" sz="quarter" idx="22" hasCustomPrompt="1"/>
          </p:nvPr>
        </p:nvSpPr>
        <p:spPr>
          <a:xfrm>
            <a:off x="6662743" y="3781425"/>
            <a:ext cx="1711325" cy="365760"/>
          </a:xfrm>
        </p:spPr>
        <p:txBody>
          <a:bodyPr>
            <a:noAutofit/>
          </a:bodyPr>
          <a:lstStyle>
            <a:lvl1pPr>
              <a:buNone/>
              <a:defRPr sz="2000" b="1"/>
            </a:lvl1pPr>
          </a:lstStyle>
          <a:p>
            <a:pPr lvl="0"/>
            <a:r>
              <a:rPr lang="en-US" dirty="0"/>
              <a:t>Name</a:t>
            </a:r>
          </a:p>
        </p:txBody>
      </p:sp>
      <p:sp>
        <p:nvSpPr>
          <p:cNvPr id="66" name="Text Placeholder 60">
            <a:extLst>
              <a:ext uri="{FF2B5EF4-FFF2-40B4-BE49-F238E27FC236}">
                <a16:creationId xmlns:a16="http://schemas.microsoft.com/office/drawing/2014/main" id="{8D5671AF-0137-4226-8A84-2784817E519C}"/>
              </a:ext>
            </a:extLst>
          </p:cNvPr>
          <p:cNvSpPr>
            <a:spLocks noGrp="1"/>
          </p:cNvSpPr>
          <p:nvPr>
            <p:ph type="body" sz="quarter" idx="21" hasCustomPrompt="1"/>
          </p:nvPr>
        </p:nvSpPr>
        <p:spPr>
          <a:xfrm>
            <a:off x="6661976" y="4232949"/>
            <a:ext cx="1711572" cy="638175"/>
          </a:xfrm>
        </p:spPr>
        <p:txBody>
          <a:bodyPr>
            <a:noAutofit/>
          </a:bodyPr>
          <a:lstStyle>
            <a:lvl1pPr>
              <a:buNone/>
              <a:defRPr sz="1800"/>
            </a:lvl1pPr>
          </a:lstStyle>
          <a:p>
            <a:pPr lvl="0"/>
            <a:r>
              <a:rPr lang="en-US" dirty="0"/>
              <a:t>Title</a:t>
            </a:r>
          </a:p>
        </p:txBody>
      </p:sp>
      <p:sp>
        <p:nvSpPr>
          <p:cNvPr id="69" name="Text Placeholder 62">
            <a:extLst>
              <a:ext uri="{FF2B5EF4-FFF2-40B4-BE49-F238E27FC236}">
                <a16:creationId xmlns:a16="http://schemas.microsoft.com/office/drawing/2014/main" id="{DA1587F0-23BF-4FB8-B06C-2B0AA928E931}"/>
              </a:ext>
            </a:extLst>
          </p:cNvPr>
          <p:cNvSpPr>
            <a:spLocks noGrp="1"/>
          </p:cNvSpPr>
          <p:nvPr>
            <p:ph type="body" sz="quarter" idx="24" hasCustomPrompt="1"/>
          </p:nvPr>
        </p:nvSpPr>
        <p:spPr>
          <a:xfrm>
            <a:off x="9433112" y="3787288"/>
            <a:ext cx="1711325" cy="365760"/>
          </a:xfrm>
        </p:spPr>
        <p:txBody>
          <a:bodyPr>
            <a:noAutofit/>
          </a:bodyPr>
          <a:lstStyle>
            <a:lvl1pPr>
              <a:buNone/>
              <a:defRPr sz="2000" b="1"/>
            </a:lvl1pPr>
          </a:lstStyle>
          <a:p>
            <a:pPr lvl="0"/>
            <a:r>
              <a:rPr lang="en-US" dirty="0"/>
              <a:t>Name</a:t>
            </a:r>
          </a:p>
        </p:txBody>
      </p:sp>
      <p:sp>
        <p:nvSpPr>
          <p:cNvPr id="68" name="Text Placeholder 60">
            <a:extLst>
              <a:ext uri="{FF2B5EF4-FFF2-40B4-BE49-F238E27FC236}">
                <a16:creationId xmlns:a16="http://schemas.microsoft.com/office/drawing/2014/main" id="{565C0B22-B5E7-44BB-A17C-7FB5BB5D82BB}"/>
              </a:ext>
            </a:extLst>
          </p:cNvPr>
          <p:cNvSpPr>
            <a:spLocks noGrp="1"/>
          </p:cNvSpPr>
          <p:nvPr>
            <p:ph type="body" sz="quarter" idx="23" hasCustomPrompt="1"/>
          </p:nvPr>
        </p:nvSpPr>
        <p:spPr>
          <a:xfrm>
            <a:off x="9432345" y="4238812"/>
            <a:ext cx="1711572" cy="638175"/>
          </a:xfrm>
        </p:spPr>
        <p:txBody>
          <a:bodyPr>
            <a:noAutofit/>
          </a:bodyPr>
          <a:lstStyle>
            <a:lvl1pPr>
              <a:buNone/>
              <a:defRPr sz="1800"/>
            </a:lvl1pPr>
          </a:lstStyle>
          <a:p>
            <a:pPr lvl="0"/>
            <a:r>
              <a:rPr lang="en-US" dirty="0"/>
              <a:t>Title</a:t>
            </a:r>
          </a:p>
        </p:txBody>
      </p:sp>
      <p:sp>
        <p:nvSpPr>
          <p:cNvPr id="4" name="Date Placeholder 3">
            <a:extLst>
              <a:ext uri="{FF2B5EF4-FFF2-40B4-BE49-F238E27FC236}">
                <a16:creationId xmlns:a16="http://schemas.microsoft.com/office/drawing/2014/main" id="{D8661572-1A59-4E3B-BA65-3329E9468C69}"/>
              </a:ext>
            </a:extLst>
          </p:cNvPr>
          <p:cNvSpPr>
            <a:spLocks noGrp="1"/>
          </p:cNvSpPr>
          <p:nvPr>
            <p:ph type="dt" sz="half" idx="10"/>
          </p:nvPr>
        </p:nvSpPr>
        <p:spPr/>
        <p:txBody>
          <a:bodyPr>
            <a:noAutofit/>
          </a:bodyPr>
          <a:lstStyle/>
          <a:p>
            <a:r>
              <a:rPr lang="en-US"/>
              <a:t>Tuesday, February 2, 20XX</a:t>
            </a:r>
            <a:endParaRPr lang="en-US" dirty="0"/>
          </a:p>
        </p:txBody>
      </p:sp>
      <p:sp>
        <p:nvSpPr>
          <p:cNvPr id="5" name="Footer Placeholder 4">
            <a:extLst>
              <a:ext uri="{FF2B5EF4-FFF2-40B4-BE49-F238E27FC236}">
                <a16:creationId xmlns:a16="http://schemas.microsoft.com/office/drawing/2014/main" id="{AFEF84F1-99FE-4F0B-9E76-F581C2C1B6D9}"/>
              </a:ext>
            </a:extLst>
          </p:cNvPr>
          <p:cNvSpPr>
            <a:spLocks noGrp="1"/>
          </p:cNvSpPr>
          <p:nvPr>
            <p:ph type="ftr" sz="quarter" idx="11"/>
          </p:nvPr>
        </p:nvSpPr>
        <p:spPr/>
        <p:txBody>
          <a:bodyPr>
            <a:noAutofit/>
          </a:bodyPr>
          <a:lstStyle/>
          <a:p>
            <a:r>
              <a:rPr lang="en-US"/>
              <a:t>Sample Footer Text</a:t>
            </a:r>
          </a:p>
        </p:txBody>
      </p:sp>
      <p:sp>
        <p:nvSpPr>
          <p:cNvPr id="6" name="Slide Number Placeholder 5">
            <a:extLst>
              <a:ext uri="{FF2B5EF4-FFF2-40B4-BE49-F238E27FC236}">
                <a16:creationId xmlns:a16="http://schemas.microsoft.com/office/drawing/2014/main" id="{97B2D769-16B1-43C4-BF14-3175533511ED}"/>
              </a:ext>
            </a:extLst>
          </p:cNvPr>
          <p:cNvSpPr>
            <a:spLocks noGrp="1"/>
          </p:cNvSpPr>
          <p:nvPr>
            <p:ph type="sldNum" sz="quarter" idx="12"/>
          </p:nvPr>
        </p:nvSpPr>
        <p:spPr/>
        <p:txBody>
          <a:bodyPr>
            <a:noAutofit/>
          </a:bodyPr>
          <a:lstStyle/>
          <a:p>
            <a:fld id="{DBA1B0FB-D917-4C8C-928F-313BD683BF39}" type="slidenum">
              <a:rPr lang="en-US" smtClean="0"/>
              <a:t>‹#›</a:t>
            </a:fld>
            <a:endParaRPr lang="en-US"/>
          </a:p>
        </p:txBody>
      </p:sp>
    </p:spTree>
    <p:extLst>
      <p:ext uri="{BB962C8B-B14F-4D97-AF65-F5344CB8AC3E}">
        <p14:creationId xmlns:p14="http://schemas.microsoft.com/office/powerpoint/2010/main" val="371577698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woTxTwoObj" preserve="1">
  <p:cSld name="10_Content 2 column (comparison slide)">
    <p:spTree>
      <p:nvGrpSpPr>
        <p:cNvPr id="1" name=""/>
        <p:cNvGrpSpPr/>
        <p:nvPr/>
      </p:nvGrpSpPr>
      <p:grpSpPr>
        <a:xfrm>
          <a:off x="0" y="0"/>
          <a:ext cx="0" cy="0"/>
          <a:chOff x="0" y="0"/>
          <a:chExt cx="0" cy="0"/>
        </a:xfrm>
      </p:grpSpPr>
      <p:sp>
        <p:nvSpPr>
          <p:cNvPr id="12" name="Oval 11">
            <a:extLst>
              <a:ext uri="{FF2B5EF4-FFF2-40B4-BE49-F238E27FC236}">
                <a16:creationId xmlns:a16="http://schemas.microsoft.com/office/drawing/2014/main" id="{FD65A50E-2F73-4426-8586-9731AFA2D2E0}"/>
              </a:ext>
            </a:extLst>
          </p:cNvPr>
          <p:cNvSpPr>
            <a:spLocks noChangeAspect="1"/>
          </p:cNvSpPr>
          <p:nvPr/>
        </p:nvSpPr>
        <p:spPr>
          <a:xfrm>
            <a:off x="11091612" y="5893466"/>
            <a:ext cx="360000" cy="360000"/>
          </a:xfrm>
          <a:prstGeom prst="ellipse">
            <a:avLst/>
          </a:prstGeom>
          <a:gradFill flip="none" rotWithShape="1">
            <a:gsLst>
              <a:gs pos="100000">
                <a:schemeClr val="bg2">
                  <a:lumMod val="50000"/>
                  <a:lumOff val="50000"/>
                </a:schemeClr>
              </a:gs>
              <a:gs pos="60000">
                <a:schemeClr val="bg2"/>
              </a:gs>
            </a:gsLst>
            <a:path path="circle">
              <a:fillToRect l="100000" b="100000"/>
            </a:path>
            <a:tileRect t="-100000" r="-100000"/>
          </a:gradFill>
          <a:ln>
            <a:noFill/>
          </a:ln>
          <a:effectLst>
            <a:innerShdw blurRad="127000" dist="63500" dir="2700000">
              <a:schemeClr val="accent1">
                <a:lumMod val="60000"/>
                <a:lumOff val="40000"/>
                <a:alpha val="20000"/>
              </a:schemeClr>
            </a:innerShdw>
            <a:softEdge rad="0"/>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1" name="Rectangle 10">
            <a:extLst>
              <a:ext uri="{FF2B5EF4-FFF2-40B4-BE49-F238E27FC236}">
                <a16:creationId xmlns:a16="http://schemas.microsoft.com/office/drawing/2014/main" id="{EB89C080-4102-49AE-BDA9-59A4A67E2486}"/>
              </a:ext>
            </a:extLst>
          </p:cNvPr>
          <p:cNvSpPr/>
          <p:nvPr/>
        </p:nvSpPr>
        <p:spPr>
          <a:xfrm>
            <a:off x="11451612" y="5827878"/>
            <a:ext cx="379049" cy="360000"/>
          </a:xfrm>
          <a:prstGeom prst="rect">
            <a:avLst/>
          </a:prstGeom>
          <a:solidFill>
            <a:schemeClr val="bg2">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sp>
        <p:nvSpPr>
          <p:cNvPr id="2" name="Title 1">
            <a:extLst>
              <a:ext uri="{FF2B5EF4-FFF2-40B4-BE49-F238E27FC236}">
                <a16:creationId xmlns:a16="http://schemas.microsoft.com/office/drawing/2014/main" id="{DDE62014-F04C-495A-964E-6B888D49CDE9}"/>
              </a:ext>
            </a:extLst>
          </p:cNvPr>
          <p:cNvSpPr>
            <a:spLocks noGrp="1"/>
          </p:cNvSpPr>
          <p:nvPr>
            <p:ph type="title"/>
          </p:nvPr>
        </p:nvSpPr>
        <p:spPr>
          <a:xfrm>
            <a:off x="550862" y="549275"/>
            <a:ext cx="11097551" cy="1332000"/>
          </a:xfrm>
        </p:spPr>
        <p:txBody>
          <a:bodyPr vert="horz" wrap="square" lIns="0" tIns="0" rIns="0" bIns="0" rtlCol="0" anchor="t" anchorCtr="0">
            <a:noAutofit/>
          </a:bodyPr>
          <a:lstStyle>
            <a:lvl1pPr>
              <a:defRPr lang="en-US" sz="4800" dirty="0"/>
            </a:lvl1pPr>
          </a:lstStyle>
          <a:p>
            <a:pPr lvl="0">
              <a:lnSpc>
                <a:spcPct val="100000"/>
              </a:lnSpc>
            </a:pPr>
            <a:r>
              <a:rPr lang="en-US"/>
              <a:t>Click to edit Master title style</a:t>
            </a:r>
            <a:endParaRPr lang="en-US" dirty="0"/>
          </a:p>
        </p:txBody>
      </p:sp>
      <p:sp>
        <p:nvSpPr>
          <p:cNvPr id="3" name="Text Placeholder 2">
            <a:extLst>
              <a:ext uri="{FF2B5EF4-FFF2-40B4-BE49-F238E27FC236}">
                <a16:creationId xmlns:a16="http://schemas.microsoft.com/office/drawing/2014/main" id="{555DF027-E633-44EE-ACA0-C205930AA93E}"/>
              </a:ext>
            </a:extLst>
          </p:cNvPr>
          <p:cNvSpPr>
            <a:spLocks noGrp="1"/>
          </p:cNvSpPr>
          <p:nvPr>
            <p:ph type="body" idx="1"/>
          </p:nvPr>
        </p:nvSpPr>
        <p:spPr>
          <a:xfrm>
            <a:off x="550864" y="1731375"/>
            <a:ext cx="5437186" cy="535354"/>
          </a:xfrm>
        </p:spPr>
        <p:txBody>
          <a:bodyPr anchor="b">
            <a:noAutofit/>
          </a:bodyPr>
          <a:lstStyle>
            <a:lvl1pPr marL="0" indent="0">
              <a:buNone/>
              <a:defRPr sz="1400" b="0" cap="all" spc="200" baseline="0">
                <a:solidFill>
                  <a:schemeClr val="tx1"/>
                </a:solidFill>
                <a:latin typeface="+mn-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9BA4F363-FEEF-4CD2-A18E-17AE8D485171}"/>
              </a:ext>
            </a:extLst>
          </p:cNvPr>
          <p:cNvSpPr>
            <a:spLocks noGrp="1"/>
          </p:cNvSpPr>
          <p:nvPr>
            <p:ph sz="half" idx="2"/>
          </p:nvPr>
        </p:nvSpPr>
        <p:spPr>
          <a:xfrm>
            <a:off x="550863" y="2427370"/>
            <a:ext cx="5429114" cy="3515555"/>
          </a:xfrm>
        </p:spPr>
        <p:txBody>
          <a:bodyPr>
            <a:noAutofit/>
          </a:bodyPr>
          <a:lstStyle>
            <a:lvl1pPr>
              <a:defRPr sz="2400"/>
            </a:lvl1pPr>
            <a:lvl2pPr>
              <a:defRPr sz="1600"/>
            </a:lvl2pPr>
            <a:lvl3pPr>
              <a:defRPr sz="16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a:extLst>
              <a:ext uri="{FF2B5EF4-FFF2-40B4-BE49-F238E27FC236}">
                <a16:creationId xmlns:a16="http://schemas.microsoft.com/office/drawing/2014/main" id="{34E50F8C-4D64-40FD-AE8C-6A1F3C2A84ED}"/>
              </a:ext>
            </a:extLst>
          </p:cNvPr>
          <p:cNvSpPr>
            <a:spLocks noGrp="1"/>
          </p:cNvSpPr>
          <p:nvPr>
            <p:ph type="body" sz="quarter" idx="3"/>
          </p:nvPr>
        </p:nvSpPr>
        <p:spPr>
          <a:xfrm>
            <a:off x="6212024" y="1731375"/>
            <a:ext cx="5436392" cy="535354"/>
          </a:xfrm>
        </p:spPr>
        <p:txBody>
          <a:bodyPr vert="horz" wrap="square" lIns="0" tIns="0" rIns="0" bIns="0" rtlCol="0" anchor="b">
            <a:noAutofit/>
          </a:bodyPr>
          <a:lstStyle>
            <a:lvl1pPr>
              <a:buNone/>
              <a:defRPr lang="en-US" sz="1400" b="0" cap="all" spc="200" baseline="0" dirty="0">
                <a:solidFill>
                  <a:schemeClr val="tx1"/>
                </a:solidFill>
              </a:defRPr>
            </a:lvl1pPr>
          </a:lstStyle>
          <a:p>
            <a:pPr marL="228600" lvl="0" indent="-228600"/>
            <a:r>
              <a:rPr lang="en-US"/>
              <a:t>Click to edit Master text styles</a:t>
            </a:r>
          </a:p>
        </p:txBody>
      </p:sp>
      <p:sp>
        <p:nvSpPr>
          <p:cNvPr id="6" name="Content Placeholder 5">
            <a:extLst>
              <a:ext uri="{FF2B5EF4-FFF2-40B4-BE49-F238E27FC236}">
                <a16:creationId xmlns:a16="http://schemas.microsoft.com/office/drawing/2014/main" id="{A7AC943E-DB2B-40E0-907F-8EA1404791DE}"/>
              </a:ext>
            </a:extLst>
          </p:cNvPr>
          <p:cNvSpPr>
            <a:spLocks noGrp="1"/>
          </p:cNvSpPr>
          <p:nvPr>
            <p:ph sz="quarter" idx="4"/>
          </p:nvPr>
        </p:nvSpPr>
        <p:spPr>
          <a:xfrm>
            <a:off x="6212023" y="2427370"/>
            <a:ext cx="5436391" cy="3515555"/>
          </a:xfrm>
        </p:spPr>
        <p:txBody>
          <a:bodyPr>
            <a:noAutofit/>
          </a:bodyPr>
          <a:lstStyle>
            <a:lvl1pPr>
              <a:defRPr sz="2400"/>
            </a:lvl1pPr>
            <a:lvl2pPr>
              <a:defRPr sz="1600"/>
            </a:lvl2pPr>
            <a:lvl3pPr>
              <a:defRPr sz="16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DDCDCD5B-3F26-4AFA-8BD4-E5D8DD2AF494}"/>
              </a:ext>
            </a:extLst>
          </p:cNvPr>
          <p:cNvSpPr>
            <a:spLocks noGrp="1"/>
          </p:cNvSpPr>
          <p:nvPr>
            <p:ph type="dt" sz="half" idx="10"/>
          </p:nvPr>
        </p:nvSpPr>
        <p:spPr/>
        <p:txBody>
          <a:bodyPr>
            <a:noAutofit/>
          </a:bodyPr>
          <a:lstStyle/>
          <a:p>
            <a:r>
              <a:rPr lang="en-US"/>
              <a:t>Tuesday, February 2, 20XX</a:t>
            </a:r>
          </a:p>
        </p:txBody>
      </p:sp>
      <p:sp>
        <p:nvSpPr>
          <p:cNvPr id="8" name="Footer Placeholder 7">
            <a:extLst>
              <a:ext uri="{FF2B5EF4-FFF2-40B4-BE49-F238E27FC236}">
                <a16:creationId xmlns:a16="http://schemas.microsoft.com/office/drawing/2014/main" id="{3D10D1EE-83A0-4FB5-9B25-8A73DE891A87}"/>
              </a:ext>
            </a:extLst>
          </p:cNvPr>
          <p:cNvSpPr>
            <a:spLocks noGrp="1"/>
          </p:cNvSpPr>
          <p:nvPr>
            <p:ph type="ftr" sz="quarter" idx="11"/>
          </p:nvPr>
        </p:nvSpPr>
        <p:spPr/>
        <p:txBody>
          <a:bodyPr>
            <a:noAutofit/>
          </a:bodyPr>
          <a:lstStyle/>
          <a:p>
            <a:r>
              <a:rPr lang="en-US"/>
              <a:t>Sample Footer Text</a:t>
            </a:r>
          </a:p>
        </p:txBody>
      </p:sp>
      <p:sp>
        <p:nvSpPr>
          <p:cNvPr id="9" name="Slide Number Placeholder 8">
            <a:extLst>
              <a:ext uri="{FF2B5EF4-FFF2-40B4-BE49-F238E27FC236}">
                <a16:creationId xmlns:a16="http://schemas.microsoft.com/office/drawing/2014/main" id="{03031C35-2E5B-491D-85ED-DB42A4FE1623}"/>
              </a:ext>
            </a:extLst>
          </p:cNvPr>
          <p:cNvSpPr>
            <a:spLocks noGrp="1"/>
          </p:cNvSpPr>
          <p:nvPr>
            <p:ph type="sldNum" sz="quarter" idx="12"/>
          </p:nvPr>
        </p:nvSpPr>
        <p:spPr/>
        <p:txBody>
          <a:bodyPr>
            <a:noAutofit/>
          </a:bodyPr>
          <a:lstStyle/>
          <a:p>
            <a:fld id="{DBA1B0FB-D917-4C8C-928F-313BD683BF39}" type="slidenum">
              <a:rPr lang="en-US" smtClean="0"/>
              <a:t>‹#›</a:t>
            </a:fld>
            <a:endParaRPr lang="en-US"/>
          </a:p>
        </p:txBody>
      </p:sp>
    </p:spTree>
    <p:extLst>
      <p:ext uri="{BB962C8B-B14F-4D97-AF65-F5344CB8AC3E}">
        <p14:creationId xmlns:p14="http://schemas.microsoft.com/office/powerpoint/2010/main" val="67039233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2"/>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A8028302-E866-455D-8898-53623027543F}"/>
              </a:ext>
            </a:extLst>
          </p:cNvPr>
          <p:cNvSpPr>
            <a:spLocks noGrp="1"/>
          </p:cNvSpPr>
          <p:nvPr>
            <p:ph type="title"/>
          </p:nvPr>
        </p:nvSpPr>
        <p:spPr>
          <a:xfrm>
            <a:off x="550863" y="550800"/>
            <a:ext cx="11090275" cy="1333057"/>
          </a:xfrm>
          <a:prstGeom prst="rect">
            <a:avLst/>
          </a:prstGeom>
        </p:spPr>
        <p:txBody>
          <a:bodyPr vert="horz" wrap="square" lIns="0" tIns="0" rIns="0" bIns="0" rtlCol="0" anchor="t" anchorCtr="0">
            <a:noAutofit/>
          </a:bodyPr>
          <a:lstStyle/>
          <a:p>
            <a:pPr lvl="0">
              <a:lnSpc>
                <a:spcPct val="100000"/>
              </a:lnSpc>
            </a:pPr>
            <a:r>
              <a:rPr lang="en-US"/>
              <a:t>Click to edit Master title style</a:t>
            </a:r>
            <a:endParaRPr lang="en-US" dirty="0"/>
          </a:p>
        </p:txBody>
      </p:sp>
      <p:sp>
        <p:nvSpPr>
          <p:cNvPr id="3" name="Text Placeholder 2">
            <a:extLst>
              <a:ext uri="{FF2B5EF4-FFF2-40B4-BE49-F238E27FC236}">
                <a16:creationId xmlns:a16="http://schemas.microsoft.com/office/drawing/2014/main" id="{BC94E72B-F0CF-4BC4-B509-A1C4508BE435}"/>
              </a:ext>
            </a:extLst>
          </p:cNvPr>
          <p:cNvSpPr>
            <a:spLocks noGrp="1"/>
          </p:cNvSpPr>
          <p:nvPr>
            <p:ph type="body" idx="1"/>
          </p:nvPr>
        </p:nvSpPr>
        <p:spPr>
          <a:xfrm>
            <a:off x="550863" y="2113862"/>
            <a:ext cx="11091600" cy="3978963"/>
          </a:xfrm>
          <a:prstGeom prst="rect">
            <a:avLst/>
          </a:prstGeom>
        </p:spPr>
        <p:txBody>
          <a:bodyPr vert="horz" wrap="square"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a:extLst>
              <a:ext uri="{FF2B5EF4-FFF2-40B4-BE49-F238E27FC236}">
                <a16:creationId xmlns:a16="http://schemas.microsoft.com/office/drawing/2014/main" id="{34ACE49D-C22F-4540-AC09-E421D2A2EDBE}"/>
              </a:ext>
            </a:extLst>
          </p:cNvPr>
          <p:cNvSpPr>
            <a:spLocks noGrp="1"/>
          </p:cNvSpPr>
          <p:nvPr>
            <p:ph type="dt" sz="half" idx="2"/>
          </p:nvPr>
        </p:nvSpPr>
        <p:spPr>
          <a:xfrm>
            <a:off x="550863" y="6507212"/>
            <a:ext cx="2628900" cy="153888"/>
          </a:xfrm>
          <a:prstGeom prst="rect">
            <a:avLst/>
          </a:prstGeom>
        </p:spPr>
        <p:txBody>
          <a:bodyPr vert="horz" wrap="square" lIns="0" tIns="0" rIns="0" bIns="0" rtlCol="0" anchor="ctr">
            <a:spAutoFit/>
          </a:bodyPr>
          <a:lstStyle>
            <a:lvl1pPr algn="l">
              <a:defRPr sz="1000">
                <a:solidFill>
                  <a:schemeClr val="tx1">
                    <a:lumMod val="65000"/>
                    <a:alpha val="80000"/>
                  </a:schemeClr>
                </a:solidFill>
              </a:defRPr>
            </a:lvl1pPr>
          </a:lstStyle>
          <a:p>
            <a:r>
              <a:rPr lang="en-US"/>
              <a:t>Tuesday, February 2, 20XX</a:t>
            </a:r>
            <a:endParaRPr lang="en-US" dirty="0"/>
          </a:p>
        </p:txBody>
      </p:sp>
      <p:sp>
        <p:nvSpPr>
          <p:cNvPr id="5" name="Footer Placeholder 4">
            <a:extLst>
              <a:ext uri="{FF2B5EF4-FFF2-40B4-BE49-F238E27FC236}">
                <a16:creationId xmlns:a16="http://schemas.microsoft.com/office/drawing/2014/main" id="{ACD5C3BE-317E-49E8-82B5-C8A7EC9C8A7E}"/>
              </a:ext>
            </a:extLst>
          </p:cNvPr>
          <p:cNvSpPr>
            <a:spLocks noGrp="1"/>
          </p:cNvSpPr>
          <p:nvPr>
            <p:ph type="ftr" sz="quarter" idx="3"/>
          </p:nvPr>
        </p:nvSpPr>
        <p:spPr>
          <a:xfrm>
            <a:off x="3359150" y="6507212"/>
            <a:ext cx="6379210" cy="153888"/>
          </a:xfrm>
          <a:prstGeom prst="rect">
            <a:avLst/>
          </a:prstGeom>
        </p:spPr>
        <p:txBody>
          <a:bodyPr vert="horz" wrap="square" lIns="0" tIns="0" rIns="0" bIns="0" rtlCol="0" anchor="ctr">
            <a:spAutoFit/>
          </a:bodyPr>
          <a:lstStyle>
            <a:lvl1pPr algn="l">
              <a:defRPr sz="1000">
                <a:solidFill>
                  <a:schemeClr val="tx1">
                    <a:lumMod val="65000"/>
                    <a:alpha val="80000"/>
                  </a:schemeClr>
                </a:solidFill>
              </a:defRPr>
            </a:lvl1pPr>
          </a:lstStyle>
          <a:p>
            <a:r>
              <a:rPr lang="en-US"/>
              <a:t>Sample Footer Text</a:t>
            </a:r>
            <a:endParaRPr lang="en-US" dirty="0"/>
          </a:p>
        </p:txBody>
      </p:sp>
      <p:sp>
        <p:nvSpPr>
          <p:cNvPr id="6" name="Slide Number Placeholder 5">
            <a:extLst>
              <a:ext uri="{FF2B5EF4-FFF2-40B4-BE49-F238E27FC236}">
                <a16:creationId xmlns:a16="http://schemas.microsoft.com/office/drawing/2014/main" id="{45574E12-6C16-431F-B2CE-E4B15916BA05}"/>
              </a:ext>
            </a:extLst>
          </p:cNvPr>
          <p:cNvSpPr>
            <a:spLocks noGrp="1"/>
          </p:cNvSpPr>
          <p:nvPr>
            <p:ph type="sldNum" sz="quarter" idx="4"/>
          </p:nvPr>
        </p:nvSpPr>
        <p:spPr>
          <a:xfrm>
            <a:off x="9948863" y="6507212"/>
            <a:ext cx="1692274" cy="153888"/>
          </a:xfrm>
          <a:prstGeom prst="rect">
            <a:avLst/>
          </a:prstGeom>
        </p:spPr>
        <p:txBody>
          <a:bodyPr vert="horz" wrap="square" lIns="0" tIns="0" rIns="0" bIns="0" rtlCol="0" anchor="ctr">
            <a:spAutoFit/>
          </a:bodyPr>
          <a:lstStyle>
            <a:lvl1pPr algn="r">
              <a:defRPr sz="1000">
                <a:solidFill>
                  <a:schemeClr val="tx1">
                    <a:lumMod val="65000"/>
                    <a:alpha val="80000"/>
                  </a:schemeClr>
                </a:solidFill>
              </a:defRPr>
            </a:lvl1pPr>
          </a:lstStyle>
          <a:p>
            <a:fld id="{DBA1B0FB-D917-4C8C-928F-313BD683BF39}" type="slidenum">
              <a:rPr lang="en-US" smtClean="0"/>
              <a:pPr/>
              <a:t>‹#›</a:t>
            </a:fld>
            <a:endParaRPr lang="en-US"/>
          </a:p>
        </p:txBody>
      </p:sp>
    </p:spTree>
    <p:extLst>
      <p:ext uri="{BB962C8B-B14F-4D97-AF65-F5344CB8AC3E}">
        <p14:creationId xmlns:p14="http://schemas.microsoft.com/office/powerpoint/2010/main" val="2521255718"/>
      </p:ext>
    </p:extLst>
  </p:cSld>
  <p:clrMap bg1="dk1" tx1="lt1" bg2="dk2" tx2="lt2" accent1="accent1" accent2="accent2" accent3="accent3" accent4="accent4" accent5="accent5" accent6="accent6" hlink="hlink" folHlink="folHlink"/>
  <p:sldLayoutIdLst>
    <p:sldLayoutId id="2147483699" r:id="rId1"/>
    <p:sldLayoutId id="2147483700" r:id="rId2"/>
    <p:sldLayoutId id="2147483733" r:id="rId3"/>
    <p:sldLayoutId id="2147483687" r:id="rId4"/>
    <p:sldLayoutId id="2147483734" r:id="rId5"/>
    <p:sldLayoutId id="2147483686" r:id="rId6"/>
    <p:sldLayoutId id="2147483696" r:id="rId7"/>
    <p:sldLayoutId id="2147483707" r:id="rId8"/>
    <p:sldLayoutId id="2147483689" r:id="rId9"/>
    <p:sldLayoutId id="2147483697" r:id="rId10"/>
    <p:sldLayoutId id="2147483731" r:id="rId11"/>
    <p:sldLayoutId id="2147483693" r:id="rId12"/>
    <p:sldLayoutId id="2147483685" r:id="rId13"/>
    <p:sldLayoutId id="2147483688" r:id="rId14"/>
    <p:sldLayoutId id="2147483691" r:id="rId15"/>
    <p:sldLayoutId id="2147483692" r:id="rId16"/>
    <p:sldLayoutId id="2147483735" r:id="rId17"/>
    <p:sldLayoutId id="2147483736" r:id="rId18"/>
  </p:sldLayoutIdLst>
  <p:hf hdr="0"/>
  <p:txStyles>
    <p:titleStyle>
      <a:lvl1pPr algn="l" defTabSz="914400" rtl="0" eaLnBrk="1" latinLnBrk="0" hangingPunct="1">
        <a:lnSpc>
          <a:spcPct val="90000"/>
        </a:lnSpc>
        <a:spcBef>
          <a:spcPct val="0"/>
        </a:spcBef>
        <a:buNone/>
        <a:defRPr lang="en-US" sz="4800" kern="1200" dirty="0">
          <a:solidFill>
            <a:schemeClr val="tx1"/>
          </a:solidFill>
          <a:latin typeface="+mj-lt"/>
          <a:ea typeface="+mj-ea"/>
          <a:cs typeface="+mj-cs"/>
        </a:defRPr>
      </a:lvl1pPr>
    </p:titleStyle>
    <p:bodyStyle>
      <a:lvl1pPr marL="228600" indent="-228600" algn="l" defTabSz="914400" rtl="0" eaLnBrk="1" latinLnBrk="0" hangingPunct="1">
        <a:lnSpc>
          <a:spcPct val="110000"/>
        </a:lnSpc>
        <a:spcBef>
          <a:spcPts val="1000"/>
        </a:spcBef>
        <a:spcAft>
          <a:spcPts val="800"/>
        </a:spcAft>
        <a:buFont typeface="Arial" panose="020B0604020202020204" pitchFamily="34" charset="0"/>
        <a:buChar char="•"/>
        <a:defRPr sz="2000" kern="1200">
          <a:solidFill>
            <a:schemeClr val="tx1">
              <a:alpha val="60000"/>
            </a:schemeClr>
          </a:solidFill>
          <a:latin typeface="+mn-lt"/>
          <a:ea typeface="+mn-ea"/>
          <a:cs typeface="+mn-cs"/>
        </a:defRPr>
      </a:lvl1pPr>
      <a:lvl2pPr marL="685800" indent="-228600" algn="l" defTabSz="914400" rtl="0" eaLnBrk="1" latinLnBrk="0" hangingPunct="1">
        <a:lnSpc>
          <a:spcPct val="110000"/>
        </a:lnSpc>
        <a:spcBef>
          <a:spcPts val="500"/>
        </a:spcBef>
        <a:spcAft>
          <a:spcPts val="800"/>
        </a:spcAft>
        <a:buFont typeface="Arial" panose="020B0604020202020204" pitchFamily="34" charset="0"/>
        <a:buChar char="•"/>
        <a:defRPr sz="1400" kern="1200">
          <a:solidFill>
            <a:schemeClr val="tx1">
              <a:alpha val="60000"/>
            </a:schemeClr>
          </a:solidFill>
          <a:latin typeface="+mn-lt"/>
          <a:ea typeface="+mn-ea"/>
          <a:cs typeface="+mn-cs"/>
        </a:defRPr>
      </a:lvl2pPr>
      <a:lvl3pPr marL="1143000" indent="-228600" algn="l" defTabSz="914400" rtl="0" eaLnBrk="1" latinLnBrk="0" hangingPunct="1">
        <a:lnSpc>
          <a:spcPct val="110000"/>
        </a:lnSpc>
        <a:spcBef>
          <a:spcPts val="500"/>
        </a:spcBef>
        <a:spcAft>
          <a:spcPts val="800"/>
        </a:spcAft>
        <a:buFont typeface="Arial" panose="020B0604020202020204" pitchFamily="34" charset="0"/>
        <a:buChar char="•"/>
        <a:defRPr sz="1400" kern="1200">
          <a:solidFill>
            <a:schemeClr val="tx1">
              <a:alpha val="60000"/>
            </a:schemeClr>
          </a:solidFill>
          <a:latin typeface="+mn-lt"/>
          <a:ea typeface="+mn-ea"/>
          <a:cs typeface="+mn-cs"/>
        </a:defRPr>
      </a:lvl3pPr>
      <a:lvl4pPr marL="1600200" indent="-228600" algn="l" defTabSz="914400" rtl="0" eaLnBrk="1" latinLnBrk="0" hangingPunct="1">
        <a:lnSpc>
          <a:spcPct val="110000"/>
        </a:lnSpc>
        <a:spcBef>
          <a:spcPts val="500"/>
        </a:spcBef>
        <a:spcAft>
          <a:spcPts val="800"/>
        </a:spcAft>
        <a:buFont typeface="Arial" panose="020B0604020202020204" pitchFamily="34" charset="0"/>
        <a:buChar char="•"/>
        <a:defRPr sz="1400" kern="1200">
          <a:solidFill>
            <a:schemeClr val="tx1">
              <a:alpha val="60000"/>
            </a:schemeClr>
          </a:solidFill>
          <a:latin typeface="+mn-lt"/>
          <a:ea typeface="+mn-ea"/>
          <a:cs typeface="+mn-cs"/>
        </a:defRPr>
      </a:lvl4pPr>
      <a:lvl5pPr marL="2057400" indent="-228600" algn="l" defTabSz="914400" rtl="0" eaLnBrk="1" latinLnBrk="0" hangingPunct="1">
        <a:lnSpc>
          <a:spcPct val="110000"/>
        </a:lnSpc>
        <a:spcBef>
          <a:spcPts val="500"/>
        </a:spcBef>
        <a:spcAft>
          <a:spcPts val="800"/>
        </a:spcAft>
        <a:buFont typeface="Arial" panose="020B0604020202020204" pitchFamily="34" charset="0"/>
        <a:buChar char="•"/>
        <a:defRPr sz="1400" kern="1200">
          <a:solidFill>
            <a:schemeClr val="tx1">
              <a:alpha val="6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2" pos="3840">
          <p15:clr>
            <a:srgbClr val="F26B43"/>
          </p15:clr>
        </p15:guide>
        <p15:guide id="33" orient="horz" pos="2160">
          <p15:clr>
            <a:srgbClr val="F26B43"/>
          </p15:clr>
        </p15:guide>
        <p15:guide id="34" pos="347">
          <p15:clr>
            <a:srgbClr val="F26B43"/>
          </p15:clr>
        </p15:guide>
        <p15:guide id="35" pos="7333">
          <p15:clr>
            <a:srgbClr val="F26B43"/>
          </p15:clr>
        </p15:guide>
        <p15:guide id="36" orient="horz" pos="346">
          <p15:clr>
            <a:srgbClr val="F26B43"/>
          </p15:clr>
        </p15:guide>
        <p15:guide id="37" orient="horz" pos="3974">
          <p15:clr>
            <a:srgbClr val="F26B43"/>
          </p15:clr>
        </p15:guide>
        <p15:guide id="38" pos="824">
          <p15:clr>
            <a:srgbClr val="A4A3A4"/>
          </p15:clr>
        </p15:guide>
        <p15:guide id="39" pos="937">
          <p15:clr>
            <a:srgbClr val="A4A3A4"/>
          </p15:clr>
        </p15:guide>
        <p15:guide id="40" pos="1413">
          <p15:clr>
            <a:srgbClr val="A4A3A4"/>
          </p15:clr>
        </p15:guide>
        <p15:guide id="41" pos="1527">
          <p15:clr>
            <a:srgbClr val="A4A3A4"/>
          </p15:clr>
        </p15:guide>
        <p15:guide id="42" pos="2003">
          <p15:clr>
            <a:srgbClr val="A4A3A4"/>
          </p15:clr>
        </p15:guide>
        <p15:guide id="43" pos="2116">
          <p15:clr>
            <a:srgbClr val="A4A3A4"/>
          </p15:clr>
        </p15:guide>
        <p15:guide id="44" pos="2593">
          <p15:clr>
            <a:srgbClr val="A4A3A4"/>
          </p15:clr>
        </p15:guide>
        <p15:guide id="45" pos="2706">
          <p15:clr>
            <a:srgbClr val="A4A3A4"/>
          </p15:clr>
        </p15:guide>
        <p15:guide id="46" pos="3182">
          <p15:clr>
            <a:srgbClr val="A4A3A4"/>
          </p15:clr>
        </p15:guide>
        <p15:guide id="47" pos="3318">
          <p15:clr>
            <a:srgbClr val="A4A3A4"/>
          </p15:clr>
        </p15:guide>
        <p15:guide id="48" pos="3772">
          <p15:clr>
            <a:srgbClr val="A4A3A4"/>
          </p15:clr>
        </p15:guide>
        <p15:guide id="49" pos="3908">
          <p15:clr>
            <a:srgbClr val="A4A3A4"/>
          </p15:clr>
        </p15:guide>
        <p15:guide id="50" pos="4362">
          <p15:clr>
            <a:srgbClr val="A4A3A4"/>
          </p15:clr>
        </p15:guide>
        <p15:guide id="51" pos="4498">
          <p15:clr>
            <a:srgbClr val="A4A3A4"/>
          </p15:clr>
        </p15:guide>
        <p15:guide id="52" pos="4951">
          <p15:clr>
            <a:srgbClr val="A4A3A4"/>
          </p15:clr>
        </p15:guide>
        <p15:guide id="53" pos="5087">
          <p15:clr>
            <a:srgbClr val="A4A3A4"/>
          </p15:clr>
        </p15:guide>
        <p15:guide id="54" pos="5541">
          <p15:clr>
            <a:srgbClr val="A4A3A4"/>
          </p15:clr>
        </p15:guide>
        <p15:guide id="55" pos="5677">
          <p15:clr>
            <a:srgbClr val="A4A3A4"/>
          </p15:clr>
        </p15:guide>
        <p15:guide id="56" pos="6153">
          <p15:clr>
            <a:srgbClr val="A4A3A4"/>
          </p15:clr>
        </p15:guide>
        <p15:guide id="57" pos="6267">
          <p15:clr>
            <a:srgbClr val="A4A3A4"/>
          </p15:clr>
        </p15:guide>
        <p15:guide id="58" pos="6743">
          <p15:clr>
            <a:srgbClr val="A4A3A4"/>
          </p15:clr>
        </p15:guide>
        <p15:guide id="59" pos="6856">
          <p15:clr>
            <a:srgbClr val="A4A3A4"/>
          </p15:clr>
        </p15:guide>
        <p15:guide id="60" orient="horz" pos="3838">
          <p15:clr>
            <a:srgbClr val="A4A3A4"/>
          </p15:clr>
        </p15:guide>
        <p15:guide id="61" orient="horz" pos="2092">
          <p15:clr>
            <a:srgbClr val="A4A3A4"/>
          </p15:clr>
        </p15:guide>
        <p15:guide id="62" orient="horz" pos="2228">
          <p15:clr>
            <a:srgbClr val="A4A3A4"/>
          </p15:clr>
        </p15:guide>
        <p15:guide id="63" orient="horz" pos="845">
          <p15:clr>
            <a:srgbClr val="A4A3A4"/>
          </p15:clr>
        </p15:guide>
        <p15:guide id="64" orient="horz" pos="958">
          <p15:clr>
            <a:srgbClr val="A4A3A4"/>
          </p15:clr>
        </p15:guide>
        <p15:guide id="65" orient="horz" pos="1480">
          <p15:clr>
            <a:srgbClr val="A4A3A4"/>
          </p15:clr>
        </p15:guide>
        <p15:guide id="66" orient="horz" pos="1593">
          <p15:clr>
            <a:srgbClr val="A4A3A4"/>
          </p15:clr>
        </p15:guide>
        <p15:guide id="67" orient="horz" pos="2727">
          <p15:clr>
            <a:srgbClr val="A4A3A4"/>
          </p15:clr>
        </p15:guide>
        <p15:guide id="68" orient="horz" pos="2840">
          <p15:clr>
            <a:srgbClr val="A4A3A4"/>
          </p15:clr>
        </p15:guide>
        <p15:guide id="69" orient="horz" pos="3339">
          <p15:clr>
            <a:srgbClr val="A4A3A4"/>
          </p15:clr>
        </p15:guide>
        <p15:guide id="70" orient="horz" pos="3475">
          <p15:clr>
            <a:srgbClr val="A4A3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notesSlide" Target="../notesSlides/notesSlide5.xml"/><Relationship Id="rId1" Type="http://schemas.openxmlformats.org/officeDocument/2006/relationships/slideLayout" Target="../slideLayouts/slideLayout11.xml"/></Relationships>
</file>

<file path=ppt/slides/_rels/slide11.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notesSlide" Target="../notesSlides/notesSlide6.xml"/><Relationship Id="rId1" Type="http://schemas.openxmlformats.org/officeDocument/2006/relationships/slideLayout" Target="../slideLayouts/slideLayout11.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17.xml"/><Relationship Id="rId1" Type="http://schemas.openxmlformats.org/officeDocument/2006/relationships/tags" Target="../tags/tag1.xml"/><Relationship Id="rId5" Type="http://schemas.openxmlformats.org/officeDocument/2006/relationships/image" Target="../media/image13.emf"/><Relationship Id="rId4" Type="http://schemas.openxmlformats.org/officeDocument/2006/relationships/oleObject" Target="../embeddings/oleObject1.bin"/></Relationships>
</file>

<file path=ppt/slides/_rels/slide14.xml.rels><?xml version="1.0" encoding="UTF-8" standalone="yes"?>
<Relationships xmlns="http://schemas.openxmlformats.org/package/2006/relationships"><Relationship Id="rId3" Type="http://schemas.openxmlformats.org/officeDocument/2006/relationships/hyperlink" Target="https://adeca.alabama.gov/broadband/" TargetMode="External"/><Relationship Id="rId2" Type="http://schemas.openxmlformats.org/officeDocument/2006/relationships/hyperlink" Target="mailto:broadband.fund@adeca.alabama.gov" TargetMode="External"/><Relationship Id="rId1" Type="http://schemas.openxmlformats.org/officeDocument/2006/relationships/slideLayout" Target="../slideLayouts/slideLayout12.xml"/><Relationship Id="rId5" Type="http://schemas.openxmlformats.org/officeDocument/2006/relationships/image" Target="../media/image14.emf"/><Relationship Id="rId4" Type="http://schemas.openxmlformats.org/officeDocument/2006/relationships/oleObject" Target="../embeddings/oleObject2.bin"/></Relationships>
</file>

<file path=ppt/slides/_rels/slide2.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jpeg"/><Relationship Id="rId1" Type="http://schemas.openxmlformats.org/officeDocument/2006/relationships/slideLayout" Target="../slideLayouts/slideLayout2.xml"/><Relationship Id="rId4" Type="http://schemas.openxmlformats.org/officeDocument/2006/relationships/image" Target="../media/image4.jpeg"/></Relationships>
</file>

<file path=ppt/slides/_rels/slide3.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2.xml"/><Relationship Id="rId1" Type="http://schemas.openxmlformats.org/officeDocument/2006/relationships/slideLayout" Target="../slideLayouts/slideLayout6.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9.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8" Type="http://schemas.openxmlformats.org/officeDocument/2006/relationships/image" Target="../media/image10.svg"/><Relationship Id="rId3" Type="http://schemas.openxmlformats.org/officeDocument/2006/relationships/image" Target="../media/image5.png"/><Relationship Id="rId7" Type="http://schemas.openxmlformats.org/officeDocument/2006/relationships/image" Target="../media/image9.png"/><Relationship Id="rId2" Type="http://schemas.openxmlformats.org/officeDocument/2006/relationships/notesSlide" Target="../notesSlides/notesSlide4.xml"/><Relationship Id="rId1" Type="http://schemas.openxmlformats.org/officeDocument/2006/relationships/slideLayout" Target="../slideLayouts/slideLayout8.xml"/><Relationship Id="rId6" Type="http://schemas.openxmlformats.org/officeDocument/2006/relationships/image" Target="../media/image8.svg"/><Relationship Id="rId5" Type="http://schemas.openxmlformats.org/officeDocument/2006/relationships/image" Target="../media/image7.png"/><Relationship Id="rId4" Type="http://schemas.openxmlformats.org/officeDocument/2006/relationships/image" Target="../media/image6.svg"/></Relationships>
</file>

<file path=ppt/slides/_rels/slide9.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86E938C-9D94-4B05-979A-D39FFC457291}"/>
              </a:ext>
            </a:extLst>
          </p:cNvPr>
          <p:cNvSpPr>
            <a:spLocks noGrp="1"/>
          </p:cNvSpPr>
          <p:nvPr>
            <p:ph type="ctrTitle"/>
          </p:nvPr>
        </p:nvSpPr>
        <p:spPr>
          <a:xfrm>
            <a:off x="7999414" y="399495"/>
            <a:ext cx="3565524" cy="3036954"/>
          </a:xfrm>
        </p:spPr>
        <p:txBody>
          <a:bodyPr anchor="b" anchorCtr="0">
            <a:normAutofit fontScale="90000"/>
          </a:bodyPr>
          <a:lstStyle/>
          <a:p>
            <a:r>
              <a:rPr lang="en-US" dirty="0"/>
              <a:t>Alabama Digital Expansion Division Annual Report</a:t>
            </a:r>
          </a:p>
        </p:txBody>
      </p:sp>
      <p:pic>
        <p:nvPicPr>
          <p:cNvPr id="14" name="Picture Placeholder 13" descr="Data Points Digital background">
            <a:extLst>
              <a:ext uri="{FF2B5EF4-FFF2-40B4-BE49-F238E27FC236}">
                <a16:creationId xmlns:a16="http://schemas.microsoft.com/office/drawing/2014/main" id="{9A8AD548-922D-4E1D-B19C-5F6E808B8160}"/>
              </a:ext>
            </a:extLst>
          </p:cNvPr>
          <p:cNvPicPr>
            <a:picLocks noGrp="1" noChangeAspect="1"/>
          </p:cNvPicPr>
          <p:nvPr>
            <p:ph type="pic" sz="quarter" idx="13"/>
          </p:nvPr>
        </p:nvPicPr>
        <p:blipFill rotWithShape="1">
          <a:blip r:embed="rId3" cstate="screen">
            <a:extLst>
              <a:ext uri="{28A0092B-C50C-407E-A947-70E740481C1C}">
                <a14:useLocalDpi xmlns:a14="http://schemas.microsoft.com/office/drawing/2010/main" val="0"/>
              </a:ext>
            </a:extLst>
          </a:blip>
          <a:srcRect/>
          <a:stretch/>
        </p:blipFill>
        <p:spPr>
          <a:xfrm>
            <a:off x="0" y="0"/>
            <a:ext cx="7452360" cy="6858000"/>
          </a:xfrm>
        </p:spPr>
      </p:pic>
      <p:sp>
        <p:nvSpPr>
          <p:cNvPr id="3" name="Subtitle 2">
            <a:extLst>
              <a:ext uri="{FF2B5EF4-FFF2-40B4-BE49-F238E27FC236}">
                <a16:creationId xmlns:a16="http://schemas.microsoft.com/office/drawing/2014/main" id="{D9A11267-FC52-4990-8D98-010AFABA5544}"/>
              </a:ext>
            </a:extLst>
          </p:cNvPr>
          <p:cNvSpPr>
            <a:spLocks noGrp="1"/>
          </p:cNvSpPr>
          <p:nvPr>
            <p:ph type="body" sz="quarter" idx="14"/>
          </p:nvPr>
        </p:nvSpPr>
        <p:spPr>
          <a:xfrm>
            <a:off x="7999414" y="3950440"/>
            <a:ext cx="3565524" cy="1731963"/>
          </a:xfrm>
        </p:spPr>
        <p:txBody>
          <a:bodyPr>
            <a:normAutofit lnSpcReduction="10000"/>
          </a:bodyPr>
          <a:lstStyle/>
          <a:p>
            <a:pPr>
              <a:lnSpc>
                <a:spcPct val="100000"/>
              </a:lnSpc>
              <a:spcBef>
                <a:spcPts val="0"/>
              </a:spcBef>
              <a:spcAft>
                <a:spcPts val="0"/>
              </a:spcAft>
            </a:pPr>
            <a:r>
              <a:rPr lang="en-US" dirty="0"/>
              <a:t>Kenneth W. Boswell, </a:t>
            </a:r>
          </a:p>
          <a:p>
            <a:pPr>
              <a:lnSpc>
                <a:spcPct val="100000"/>
              </a:lnSpc>
              <a:spcBef>
                <a:spcPts val="0"/>
              </a:spcBef>
              <a:spcAft>
                <a:spcPts val="0"/>
              </a:spcAft>
            </a:pPr>
            <a:r>
              <a:rPr lang="en-US" dirty="0"/>
              <a:t>ADECA Director</a:t>
            </a:r>
          </a:p>
          <a:p>
            <a:pPr>
              <a:lnSpc>
                <a:spcPct val="100000"/>
              </a:lnSpc>
              <a:spcBef>
                <a:spcPts val="0"/>
              </a:spcBef>
              <a:spcAft>
                <a:spcPts val="0"/>
              </a:spcAft>
            </a:pPr>
            <a:endParaRPr lang="en-US" dirty="0"/>
          </a:p>
          <a:p>
            <a:pPr>
              <a:lnSpc>
                <a:spcPct val="100000"/>
              </a:lnSpc>
              <a:spcBef>
                <a:spcPts val="0"/>
              </a:spcBef>
              <a:spcAft>
                <a:spcPts val="0"/>
              </a:spcAft>
            </a:pPr>
            <a:r>
              <a:rPr lang="en-US" dirty="0"/>
              <a:t>Maureen Neighbors</a:t>
            </a:r>
          </a:p>
          <a:p>
            <a:pPr>
              <a:lnSpc>
                <a:spcPct val="100000"/>
              </a:lnSpc>
              <a:spcBef>
                <a:spcPts val="0"/>
              </a:spcBef>
              <a:spcAft>
                <a:spcPts val="0"/>
              </a:spcAft>
            </a:pPr>
            <a:r>
              <a:rPr lang="en-US" dirty="0"/>
              <a:t>Alabama Digital Expansion</a:t>
            </a:r>
          </a:p>
          <a:p>
            <a:pPr>
              <a:lnSpc>
                <a:spcPct val="100000"/>
              </a:lnSpc>
              <a:spcBef>
                <a:spcPts val="0"/>
              </a:spcBef>
              <a:spcAft>
                <a:spcPts val="0"/>
              </a:spcAft>
            </a:pPr>
            <a:r>
              <a:rPr lang="en-US" dirty="0"/>
              <a:t>Division Chief</a:t>
            </a:r>
          </a:p>
        </p:txBody>
      </p:sp>
    </p:spTree>
    <p:extLst>
      <p:ext uri="{BB962C8B-B14F-4D97-AF65-F5344CB8AC3E}">
        <p14:creationId xmlns:p14="http://schemas.microsoft.com/office/powerpoint/2010/main" val="75281428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581E8936-2270-47FE-94A4-398CB123EF90}"/>
              </a:ext>
            </a:extLst>
          </p:cNvPr>
          <p:cNvSpPr>
            <a:spLocks noGrp="1"/>
          </p:cNvSpPr>
          <p:nvPr>
            <p:ph type="title"/>
          </p:nvPr>
        </p:nvSpPr>
        <p:spPr>
          <a:xfrm>
            <a:off x="550863" y="4508500"/>
            <a:ext cx="4500562" cy="1562959"/>
          </a:xfrm>
        </p:spPr>
        <p:txBody>
          <a:bodyPr/>
          <a:lstStyle/>
          <a:p>
            <a:r>
              <a:rPr lang="en-US" dirty="0"/>
              <a:t>Middle Mile</a:t>
            </a:r>
          </a:p>
        </p:txBody>
      </p:sp>
      <p:pic>
        <p:nvPicPr>
          <p:cNvPr id="16" name="Picture Placeholder 15" descr="Data Points Digital background">
            <a:extLst>
              <a:ext uri="{FF2B5EF4-FFF2-40B4-BE49-F238E27FC236}">
                <a16:creationId xmlns:a16="http://schemas.microsoft.com/office/drawing/2014/main" id="{361E9ADB-7377-4CF1-9AE4-AEFBDEBEEEEC}"/>
              </a:ext>
            </a:extLst>
          </p:cNvPr>
          <p:cNvPicPr>
            <a:picLocks noGrp="1" noChangeAspect="1"/>
          </p:cNvPicPr>
          <p:nvPr>
            <p:ph type="pic" sz="quarter" idx="13"/>
          </p:nvPr>
        </p:nvPicPr>
        <p:blipFill rotWithShape="1">
          <a:blip r:embed="rId3" cstate="screen">
            <a:extLst>
              <a:ext uri="{28A0092B-C50C-407E-A947-70E740481C1C}">
                <a14:useLocalDpi xmlns:a14="http://schemas.microsoft.com/office/drawing/2010/main" val="0"/>
              </a:ext>
            </a:extLst>
          </a:blip>
          <a:srcRect/>
          <a:stretch/>
        </p:blipFill>
        <p:spPr>
          <a:xfrm>
            <a:off x="0" y="0"/>
            <a:ext cx="12192000" cy="3776472"/>
          </a:xfrm>
        </p:spPr>
      </p:pic>
      <p:sp>
        <p:nvSpPr>
          <p:cNvPr id="13" name="Content Placeholder 12">
            <a:extLst>
              <a:ext uri="{FF2B5EF4-FFF2-40B4-BE49-F238E27FC236}">
                <a16:creationId xmlns:a16="http://schemas.microsoft.com/office/drawing/2014/main" id="{C0287FEC-3826-4868-8D93-52429C6156F5}"/>
              </a:ext>
            </a:extLst>
          </p:cNvPr>
          <p:cNvSpPr>
            <a:spLocks noGrp="1"/>
          </p:cNvSpPr>
          <p:nvPr>
            <p:ph sz="quarter" idx="15"/>
          </p:nvPr>
        </p:nvSpPr>
        <p:spPr>
          <a:xfrm>
            <a:off x="4802819" y="4287915"/>
            <a:ext cx="6838318" cy="1935331"/>
          </a:xfrm>
        </p:spPr>
        <p:txBody>
          <a:bodyPr>
            <a:normAutofit/>
          </a:bodyPr>
          <a:lstStyle/>
          <a:p>
            <a:r>
              <a:rPr lang="en-US" dirty="0"/>
              <a:t>Additionally, Governor Ivey announced the award of $82.45 million for Alabama’s Statewide Middle Mile Network program.  </a:t>
            </a:r>
          </a:p>
        </p:txBody>
      </p:sp>
      <p:sp>
        <p:nvSpPr>
          <p:cNvPr id="6" name="Slide Number Placeholder 5">
            <a:extLst>
              <a:ext uri="{FF2B5EF4-FFF2-40B4-BE49-F238E27FC236}">
                <a16:creationId xmlns:a16="http://schemas.microsoft.com/office/drawing/2014/main" id="{9ED907F8-C614-4D59-A03F-BF9CD5E35703}"/>
              </a:ext>
            </a:extLst>
          </p:cNvPr>
          <p:cNvSpPr>
            <a:spLocks noGrp="1"/>
          </p:cNvSpPr>
          <p:nvPr>
            <p:ph type="sldNum" sz="quarter" idx="12"/>
          </p:nvPr>
        </p:nvSpPr>
        <p:spPr>
          <a:xfrm>
            <a:off x="9948863" y="6507212"/>
            <a:ext cx="1692274" cy="153888"/>
          </a:xfrm>
        </p:spPr>
        <p:txBody>
          <a:bodyPr/>
          <a:lstStyle/>
          <a:p>
            <a:fld id="{DBA1B0FB-D917-4C8C-928F-313BD683BF39}" type="slidenum">
              <a:rPr lang="en-US" smtClean="0"/>
              <a:pPr/>
              <a:t>10</a:t>
            </a:fld>
            <a:endParaRPr lang="en-US"/>
          </a:p>
        </p:txBody>
      </p:sp>
    </p:spTree>
    <p:extLst>
      <p:ext uri="{BB962C8B-B14F-4D97-AF65-F5344CB8AC3E}">
        <p14:creationId xmlns:p14="http://schemas.microsoft.com/office/powerpoint/2010/main" val="352156130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581E8936-2270-47FE-94A4-398CB123EF90}"/>
              </a:ext>
            </a:extLst>
          </p:cNvPr>
          <p:cNvSpPr>
            <a:spLocks noGrp="1"/>
          </p:cNvSpPr>
          <p:nvPr>
            <p:ph type="title"/>
          </p:nvPr>
        </p:nvSpPr>
        <p:spPr>
          <a:xfrm>
            <a:off x="550863" y="4508500"/>
            <a:ext cx="3808073" cy="1562959"/>
          </a:xfrm>
        </p:spPr>
        <p:txBody>
          <a:bodyPr/>
          <a:lstStyle/>
          <a:p>
            <a:r>
              <a:rPr lang="en-US" dirty="0"/>
              <a:t>Mapping</a:t>
            </a:r>
          </a:p>
        </p:txBody>
      </p:sp>
      <p:pic>
        <p:nvPicPr>
          <p:cNvPr id="16" name="Picture Placeholder 15" descr="Data Points Digital background">
            <a:extLst>
              <a:ext uri="{FF2B5EF4-FFF2-40B4-BE49-F238E27FC236}">
                <a16:creationId xmlns:a16="http://schemas.microsoft.com/office/drawing/2014/main" id="{361E9ADB-7377-4CF1-9AE4-AEFBDEBEEEEC}"/>
              </a:ext>
            </a:extLst>
          </p:cNvPr>
          <p:cNvPicPr>
            <a:picLocks noGrp="1" noChangeAspect="1"/>
          </p:cNvPicPr>
          <p:nvPr>
            <p:ph type="pic" sz="quarter" idx="13"/>
          </p:nvPr>
        </p:nvPicPr>
        <p:blipFill rotWithShape="1">
          <a:blip r:embed="rId3" cstate="screen">
            <a:extLst>
              <a:ext uri="{28A0092B-C50C-407E-A947-70E740481C1C}">
                <a14:useLocalDpi xmlns:a14="http://schemas.microsoft.com/office/drawing/2010/main" val="0"/>
              </a:ext>
            </a:extLst>
          </a:blip>
          <a:srcRect/>
          <a:stretch/>
        </p:blipFill>
        <p:spPr>
          <a:xfrm>
            <a:off x="0" y="0"/>
            <a:ext cx="12192000" cy="3776472"/>
          </a:xfrm>
        </p:spPr>
      </p:pic>
      <p:sp>
        <p:nvSpPr>
          <p:cNvPr id="13" name="Content Placeholder 12">
            <a:extLst>
              <a:ext uri="{FF2B5EF4-FFF2-40B4-BE49-F238E27FC236}">
                <a16:creationId xmlns:a16="http://schemas.microsoft.com/office/drawing/2014/main" id="{C0287FEC-3826-4868-8D93-52429C6156F5}"/>
              </a:ext>
            </a:extLst>
          </p:cNvPr>
          <p:cNvSpPr>
            <a:spLocks noGrp="1"/>
          </p:cNvSpPr>
          <p:nvPr>
            <p:ph sz="quarter" idx="15"/>
          </p:nvPr>
        </p:nvSpPr>
        <p:spPr>
          <a:xfrm>
            <a:off x="4802819" y="4287915"/>
            <a:ext cx="6838318" cy="1935331"/>
          </a:xfrm>
        </p:spPr>
        <p:txBody>
          <a:bodyPr>
            <a:normAutofit/>
          </a:bodyPr>
          <a:lstStyle/>
          <a:p>
            <a:r>
              <a:rPr lang="en-US" dirty="0"/>
              <a:t>CTC has completed the 2022 update of the Alabama Broadband Map. Some additional updates will be added by the end of this month.  We have a new layer that shows unserved addresses. We leveraged the hard work on the map to assist in challenging the new FCC map. </a:t>
            </a:r>
          </a:p>
        </p:txBody>
      </p:sp>
      <p:sp>
        <p:nvSpPr>
          <p:cNvPr id="6" name="Slide Number Placeholder 5">
            <a:extLst>
              <a:ext uri="{FF2B5EF4-FFF2-40B4-BE49-F238E27FC236}">
                <a16:creationId xmlns:a16="http://schemas.microsoft.com/office/drawing/2014/main" id="{9ED907F8-C614-4D59-A03F-BF9CD5E35703}"/>
              </a:ext>
            </a:extLst>
          </p:cNvPr>
          <p:cNvSpPr>
            <a:spLocks noGrp="1"/>
          </p:cNvSpPr>
          <p:nvPr>
            <p:ph type="sldNum" sz="quarter" idx="12"/>
          </p:nvPr>
        </p:nvSpPr>
        <p:spPr>
          <a:xfrm>
            <a:off x="9948863" y="6507212"/>
            <a:ext cx="1692274" cy="153888"/>
          </a:xfrm>
        </p:spPr>
        <p:txBody>
          <a:bodyPr/>
          <a:lstStyle/>
          <a:p>
            <a:fld id="{DBA1B0FB-D917-4C8C-928F-313BD683BF39}" type="slidenum">
              <a:rPr lang="en-US" smtClean="0"/>
              <a:pPr/>
              <a:t>11</a:t>
            </a:fld>
            <a:endParaRPr lang="en-US"/>
          </a:p>
        </p:txBody>
      </p:sp>
    </p:spTree>
    <p:extLst>
      <p:ext uri="{BB962C8B-B14F-4D97-AF65-F5344CB8AC3E}">
        <p14:creationId xmlns:p14="http://schemas.microsoft.com/office/powerpoint/2010/main" val="374538295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DA1FFA43-2B78-CA51-3B80-DA0612B9B5FB}"/>
              </a:ext>
            </a:extLst>
          </p:cNvPr>
          <p:cNvSpPr>
            <a:spLocks noGrp="1"/>
          </p:cNvSpPr>
          <p:nvPr>
            <p:ph sz="half" idx="1"/>
          </p:nvPr>
        </p:nvSpPr>
        <p:spPr>
          <a:xfrm>
            <a:off x="275634" y="2080003"/>
            <a:ext cx="2743200" cy="3242075"/>
          </a:xfrm>
          <a:solidFill>
            <a:schemeClr val="accent1">
              <a:lumMod val="75000"/>
            </a:schemeClr>
          </a:solidFill>
        </p:spPr>
        <p:txBody>
          <a:bodyPr/>
          <a:lstStyle/>
          <a:p>
            <a:r>
              <a:rPr lang="en-US" dirty="0"/>
              <a:t>Updated on December 31</a:t>
            </a:r>
          </a:p>
          <a:p>
            <a:r>
              <a:rPr lang="en-US" dirty="0"/>
              <a:t>Will continue with twice-yearly updates to enable informed grant-making</a:t>
            </a:r>
          </a:p>
          <a:p>
            <a:r>
              <a:rPr lang="en-US" dirty="0"/>
              <a:t>Widespread, helpful participation by ISPs</a:t>
            </a:r>
          </a:p>
          <a:p>
            <a:r>
              <a:rPr lang="en-US" dirty="0"/>
              <a:t>Important tool for vetting the FCC map</a:t>
            </a:r>
          </a:p>
        </p:txBody>
      </p:sp>
      <p:sp>
        <p:nvSpPr>
          <p:cNvPr id="3" name="Content Placeholder 2">
            <a:extLst>
              <a:ext uri="{FF2B5EF4-FFF2-40B4-BE49-F238E27FC236}">
                <a16:creationId xmlns:a16="http://schemas.microsoft.com/office/drawing/2014/main" id="{D4F19711-929F-36C9-9801-80B9C92DFD7B}"/>
              </a:ext>
            </a:extLst>
          </p:cNvPr>
          <p:cNvSpPr>
            <a:spLocks noGrp="1"/>
          </p:cNvSpPr>
          <p:nvPr>
            <p:ph sz="half" idx="13"/>
          </p:nvPr>
        </p:nvSpPr>
        <p:spPr>
          <a:xfrm>
            <a:off x="3045630" y="2551541"/>
            <a:ext cx="2743200" cy="4003264"/>
          </a:xfrm>
          <a:solidFill>
            <a:schemeClr val="accent1">
              <a:lumMod val="40000"/>
              <a:lumOff val="60000"/>
            </a:schemeClr>
          </a:solidFill>
        </p:spPr>
        <p:txBody>
          <a:bodyPr>
            <a:normAutofit/>
          </a:bodyPr>
          <a:lstStyle/>
          <a:p>
            <a:pPr marL="0" indent="0" algn="ctr">
              <a:lnSpc>
                <a:spcPct val="100000"/>
              </a:lnSpc>
              <a:spcBef>
                <a:spcPts val="0"/>
              </a:spcBef>
              <a:spcAft>
                <a:spcPts val="0"/>
              </a:spcAft>
              <a:buNone/>
            </a:pPr>
            <a:r>
              <a:rPr lang="en-US" sz="1800" dirty="0">
                <a:solidFill>
                  <a:schemeClr val="bg1">
                    <a:lumMod val="65000"/>
                    <a:lumOff val="35000"/>
                  </a:schemeClr>
                </a:solidFill>
              </a:rPr>
              <a:t>FCC Broadband Map</a:t>
            </a:r>
          </a:p>
          <a:p>
            <a:pPr marL="0" indent="0" algn="ctr">
              <a:lnSpc>
                <a:spcPct val="100000"/>
              </a:lnSpc>
              <a:spcBef>
                <a:spcPts val="0"/>
              </a:spcBef>
              <a:spcAft>
                <a:spcPts val="0"/>
              </a:spcAft>
              <a:buNone/>
            </a:pPr>
            <a:endParaRPr lang="en-US" sz="1800" dirty="0">
              <a:solidFill>
                <a:schemeClr val="bg1">
                  <a:lumMod val="65000"/>
                  <a:lumOff val="35000"/>
                </a:schemeClr>
              </a:solidFill>
            </a:endParaRPr>
          </a:p>
          <a:p>
            <a:pPr marL="0" indent="0" algn="ctr">
              <a:lnSpc>
                <a:spcPct val="100000"/>
              </a:lnSpc>
              <a:spcBef>
                <a:spcPts val="0"/>
              </a:spcBef>
              <a:spcAft>
                <a:spcPts val="0"/>
              </a:spcAft>
              <a:buNone/>
            </a:pPr>
            <a:endParaRPr lang="en-US" sz="1800" dirty="0">
              <a:solidFill>
                <a:schemeClr val="bg1">
                  <a:lumMod val="65000"/>
                  <a:lumOff val="35000"/>
                </a:schemeClr>
              </a:solidFill>
            </a:endParaRPr>
          </a:p>
          <a:p>
            <a:pPr>
              <a:lnSpc>
                <a:spcPct val="100000"/>
              </a:lnSpc>
              <a:spcBef>
                <a:spcPts val="0"/>
              </a:spcBef>
              <a:spcAft>
                <a:spcPts val="0"/>
              </a:spcAft>
            </a:pPr>
            <a:r>
              <a:rPr lang="en-US" dirty="0">
                <a:solidFill>
                  <a:schemeClr val="bg1">
                    <a:alpha val="60000"/>
                  </a:schemeClr>
                </a:solidFill>
              </a:rPr>
              <a:t>Released in the fall, with considerable challenges</a:t>
            </a:r>
          </a:p>
          <a:p>
            <a:pPr lvl="1">
              <a:lnSpc>
                <a:spcPct val="100000"/>
              </a:lnSpc>
              <a:spcBef>
                <a:spcPts val="0"/>
              </a:spcBef>
              <a:spcAft>
                <a:spcPts val="0"/>
              </a:spcAft>
            </a:pPr>
            <a:r>
              <a:rPr lang="en-US" dirty="0">
                <a:solidFill>
                  <a:schemeClr val="bg1">
                    <a:alpha val="60000"/>
                  </a:schemeClr>
                </a:solidFill>
              </a:rPr>
              <a:t>Missing addresses</a:t>
            </a:r>
          </a:p>
          <a:p>
            <a:pPr lvl="1">
              <a:lnSpc>
                <a:spcPct val="100000"/>
              </a:lnSpc>
              <a:spcBef>
                <a:spcPts val="0"/>
              </a:spcBef>
              <a:spcAft>
                <a:spcPts val="0"/>
              </a:spcAft>
            </a:pPr>
            <a:r>
              <a:rPr lang="en-US" dirty="0">
                <a:solidFill>
                  <a:schemeClr val="bg1">
                    <a:alpha val="60000"/>
                  </a:schemeClr>
                </a:solidFill>
              </a:rPr>
              <a:t>Incorrect (overstated) data regarding broadband service</a:t>
            </a:r>
          </a:p>
          <a:p>
            <a:pPr>
              <a:lnSpc>
                <a:spcPct val="100000"/>
              </a:lnSpc>
              <a:spcBef>
                <a:spcPts val="0"/>
              </a:spcBef>
              <a:spcAft>
                <a:spcPts val="0"/>
              </a:spcAft>
            </a:pPr>
            <a:r>
              <a:rPr lang="en-US" dirty="0">
                <a:solidFill>
                  <a:schemeClr val="bg1">
                    <a:alpha val="60000"/>
                  </a:schemeClr>
                </a:solidFill>
              </a:rPr>
              <a:t>Even with inaccuracies, the map appears to favor Alabama</a:t>
            </a:r>
          </a:p>
        </p:txBody>
      </p:sp>
      <p:sp>
        <p:nvSpPr>
          <p:cNvPr id="4" name="Title 3">
            <a:extLst>
              <a:ext uri="{FF2B5EF4-FFF2-40B4-BE49-F238E27FC236}">
                <a16:creationId xmlns:a16="http://schemas.microsoft.com/office/drawing/2014/main" id="{1820E8CA-F261-FCDA-39CA-4A1111B2BAC4}"/>
              </a:ext>
            </a:extLst>
          </p:cNvPr>
          <p:cNvSpPr>
            <a:spLocks noGrp="1"/>
          </p:cNvSpPr>
          <p:nvPr>
            <p:ph type="title"/>
          </p:nvPr>
        </p:nvSpPr>
        <p:spPr>
          <a:xfrm>
            <a:off x="304074" y="207291"/>
            <a:ext cx="11606644" cy="630107"/>
          </a:xfrm>
        </p:spPr>
        <p:txBody>
          <a:bodyPr/>
          <a:lstStyle/>
          <a:p>
            <a:r>
              <a:rPr lang="en-US" dirty="0">
                <a:solidFill>
                  <a:schemeClr val="tx1"/>
                </a:solidFill>
              </a:rPr>
              <a:t>Mapping and the BEAD Allocation Process</a:t>
            </a:r>
          </a:p>
        </p:txBody>
      </p:sp>
      <p:sp>
        <p:nvSpPr>
          <p:cNvPr id="5" name="Content Placeholder 4">
            <a:extLst>
              <a:ext uri="{FF2B5EF4-FFF2-40B4-BE49-F238E27FC236}">
                <a16:creationId xmlns:a16="http://schemas.microsoft.com/office/drawing/2014/main" id="{88D56DFD-EA6F-DF36-9EAC-65BA6CE6F575}"/>
              </a:ext>
            </a:extLst>
          </p:cNvPr>
          <p:cNvSpPr>
            <a:spLocks noGrp="1"/>
          </p:cNvSpPr>
          <p:nvPr>
            <p:ph sz="half" idx="14"/>
          </p:nvPr>
        </p:nvSpPr>
        <p:spPr>
          <a:xfrm>
            <a:off x="5782131" y="2542373"/>
            <a:ext cx="2743200" cy="4012432"/>
          </a:xfrm>
          <a:solidFill>
            <a:schemeClr val="accent1"/>
          </a:solidFill>
        </p:spPr>
        <p:txBody>
          <a:bodyPr>
            <a:normAutofit/>
          </a:bodyPr>
          <a:lstStyle/>
          <a:p>
            <a:pPr marL="0" indent="0" algn="ctr">
              <a:spcBef>
                <a:spcPts val="0"/>
              </a:spcBef>
              <a:spcAft>
                <a:spcPts val="0"/>
              </a:spcAft>
              <a:buNone/>
            </a:pPr>
            <a:r>
              <a:rPr lang="en-US" sz="1800" dirty="0">
                <a:solidFill>
                  <a:schemeClr val="tx1"/>
                </a:solidFill>
              </a:rPr>
              <a:t>Challenges to the missing addresses in the “fabric”</a:t>
            </a:r>
          </a:p>
          <a:p>
            <a:pPr marL="0" indent="0" algn="ctr">
              <a:spcBef>
                <a:spcPts val="0"/>
              </a:spcBef>
              <a:spcAft>
                <a:spcPts val="0"/>
              </a:spcAft>
              <a:buNone/>
            </a:pPr>
            <a:endParaRPr lang="en-US" sz="1800" dirty="0">
              <a:solidFill>
                <a:schemeClr val="tx1"/>
              </a:solidFill>
            </a:endParaRPr>
          </a:p>
          <a:p>
            <a:pPr>
              <a:spcBef>
                <a:spcPts val="0"/>
              </a:spcBef>
              <a:spcAft>
                <a:spcPts val="0"/>
              </a:spcAft>
            </a:pPr>
            <a:r>
              <a:rPr lang="en-US" dirty="0">
                <a:solidFill>
                  <a:schemeClr val="bg1">
                    <a:alpha val="60000"/>
                  </a:schemeClr>
                </a:solidFill>
              </a:rPr>
              <a:t>Challenges had to be submitted by October 30 to impact allocations</a:t>
            </a:r>
          </a:p>
          <a:p>
            <a:pPr>
              <a:spcBef>
                <a:spcPts val="0"/>
              </a:spcBef>
              <a:spcAft>
                <a:spcPts val="0"/>
              </a:spcAft>
            </a:pPr>
            <a:r>
              <a:rPr lang="en-US" dirty="0">
                <a:solidFill>
                  <a:schemeClr val="bg1">
                    <a:alpha val="60000"/>
                  </a:schemeClr>
                </a:solidFill>
              </a:rPr>
              <a:t>ADECA submitted 6,331 challenges in unserved areas, based on review of satellite data</a:t>
            </a:r>
          </a:p>
          <a:p>
            <a:pPr>
              <a:spcBef>
                <a:spcPts val="0"/>
              </a:spcBef>
              <a:spcAft>
                <a:spcPts val="0"/>
              </a:spcAft>
            </a:pPr>
            <a:r>
              <a:rPr lang="en-US" dirty="0">
                <a:solidFill>
                  <a:schemeClr val="bg1">
                    <a:alpha val="60000"/>
                  </a:schemeClr>
                </a:solidFill>
              </a:rPr>
              <a:t>The FCC informed us that most of these were accepted into the updated fabric </a:t>
            </a:r>
          </a:p>
          <a:p>
            <a:endParaRPr lang="en-US" dirty="0"/>
          </a:p>
          <a:p>
            <a:endParaRPr lang="en-US" dirty="0"/>
          </a:p>
        </p:txBody>
      </p:sp>
      <p:sp>
        <p:nvSpPr>
          <p:cNvPr id="6" name="Content Placeholder 5">
            <a:extLst>
              <a:ext uri="{FF2B5EF4-FFF2-40B4-BE49-F238E27FC236}">
                <a16:creationId xmlns:a16="http://schemas.microsoft.com/office/drawing/2014/main" id="{4E965A4C-ABE8-11E0-7059-B158595113DB}"/>
              </a:ext>
            </a:extLst>
          </p:cNvPr>
          <p:cNvSpPr>
            <a:spLocks noGrp="1"/>
          </p:cNvSpPr>
          <p:nvPr>
            <p:ph sz="half" idx="15"/>
          </p:nvPr>
        </p:nvSpPr>
        <p:spPr>
          <a:xfrm>
            <a:off x="8505233" y="2551540"/>
            <a:ext cx="2743200" cy="4003265"/>
          </a:xfrm>
          <a:solidFill>
            <a:schemeClr val="accent1">
              <a:lumMod val="40000"/>
              <a:lumOff val="60000"/>
            </a:schemeClr>
          </a:solidFill>
        </p:spPr>
        <p:txBody>
          <a:bodyPr>
            <a:normAutofit/>
          </a:bodyPr>
          <a:lstStyle/>
          <a:p>
            <a:pPr marL="0" indent="0" algn="ctr">
              <a:lnSpc>
                <a:spcPct val="100000"/>
              </a:lnSpc>
              <a:spcBef>
                <a:spcPts val="0"/>
              </a:spcBef>
              <a:spcAft>
                <a:spcPts val="0"/>
              </a:spcAft>
              <a:buNone/>
            </a:pPr>
            <a:r>
              <a:rPr lang="en-US" sz="1800" dirty="0">
                <a:solidFill>
                  <a:schemeClr val="bg1">
                    <a:lumMod val="65000"/>
                    <a:lumOff val="35000"/>
                  </a:schemeClr>
                </a:solidFill>
              </a:rPr>
              <a:t>Challenges to incorrect data regarding service</a:t>
            </a:r>
          </a:p>
          <a:p>
            <a:pPr marL="0" indent="0" algn="ctr">
              <a:lnSpc>
                <a:spcPct val="100000"/>
              </a:lnSpc>
              <a:spcBef>
                <a:spcPts val="0"/>
              </a:spcBef>
              <a:spcAft>
                <a:spcPts val="0"/>
              </a:spcAft>
              <a:buNone/>
            </a:pPr>
            <a:endParaRPr lang="en-US" sz="1800" dirty="0">
              <a:solidFill>
                <a:schemeClr val="bg1">
                  <a:lumMod val="65000"/>
                  <a:lumOff val="35000"/>
                </a:schemeClr>
              </a:solidFill>
            </a:endParaRPr>
          </a:p>
          <a:p>
            <a:pPr>
              <a:lnSpc>
                <a:spcPct val="100000"/>
              </a:lnSpc>
              <a:spcBef>
                <a:spcPts val="0"/>
              </a:spcBef>
              <a:spcAft>
                <a:spcPts val="0"/>
              </a:spcAft>
            </a:pPr>
            <a:r>
              <a:rPr lang="en-US" dirty="0">
                <a:solidFill>
                  <a:schemeClr val="bg1">
                    <a:alpha val="60000"/>
                  </a:schemeClr>
                </a:solidFill>
              </a:rPr>
              <a:t>Challenges must be submitted by Friday to (possibly) impact allocations</a:t>
            </a:r>
          </a:p>
          <a:p>
            <a:pPr>
              <a:lnSpc>
                <a:spcPct val="100000"/>
              </a:lnSpc>
              <a:spcBef>
                <a:spcPts val="0"/>
              </a:spcBef>
              <a:spcAft>
                <a:spcPts val="0"/>
              </a:spcAft>
            </a:pPr>
            <a:r>
              <a:rPr lang="en-US" dirty="0">
                <a:solidFill>
                  <a:schemeClr val="bg1">
                    <a:alpha val="60000"/>
                  </a:schemeClr>
                </a:solidFill>
              </a:rPr>
              <a:t>Many states have asked for extensions</a:t>
            </a:r>
          </a:p>
          <a:p>
            <a:pPr marL="0" indent="0">
              <a:buNone/>
            </a:pPr>
            <a:endParaRPr lang="en-US" dirty="0"/>
          </a:p>
        </p:txBody>
      </p:sp>
      <p:sp>
        <p:nvSpPr>
          <p:cNvPr id="7" name="Content Placeholder 6">
            <a:extLst>
              <a:ext uri="{FF2B5EF4-FFF2-40B4-BE49-F238E27FC236}">
                <a16:creationId xmlns:a16="http://schemas.microsoft.com/office/drawing/2014/main" id="{2BB6BCD4-77DA-58BA-2342-AABB3510795C}"/>
              </a:ext>
            </a:extLst>
          </p:cNvPr>
          <p:cNvSpPr>
            <a:spLocks noGrp="1"/>
          </p:cNvSpPr>
          <p:nvPr>
            <p:ph sz="half" idx="18"/>
          </p:nvPr>
        </p:nvSpPr>
        <p:spPr>
          <a:xfrm>
            <a:off x="283340" y="1617990"/>
            <a:ext cx="2743199" cy="462013"/>
          </a:xfrm>
          <a:solidFill>
            <a:schemeClr val="accent1">
              <a:lumMod val="75000"/>
            </a:schemeClr>
          </a:solidFill>
        </p:spPr>
        <p:txBody>
          <a:bodyPr/>
          <a:lstStyle/>
          <a:p>
            <a:r>
              <a:rPr lang="en-US" dirty="0">
                <a:solidFill>
                  <a:schemeClr val="tx1"/>
                </a:solidFill>
              </a:rPr>
              <a:t>Alabama Broadband Map</a:t>
            </a:r>
          </a:p>
        </p:txBody>
      </p:sp>
      <p:sp>
        <p:nvSpPr>
          <p:cNvPr id="11" name="TextBox 10">
            <a:extLst>
              <a:ext uri="{FF2B5EF4-FFF2-40B4-BE49-F238E27FC236}">
                <a16:creationId xmlns:a16="http://schemas.microsoft.com/office/drawing/2014/main" id="{213475CB-C951-5F8E-618A-D727903CBBE6}"/>
              </a:ext>
            </a:extLst>
          </p:cNvPr>
          <p:cNvSpPr txBox="1"/>
          <p:nvPr/>
        </p:nvSpPr>
        <p:spPr>
          <a:xfrm>
            <a:off x="304074" y="943276"/>
            <a:ext cx="11352120" cy="369332"/>
          </a:xfrm>
          <a:prstGeom prst="rect">
            <a:avLst/>
          </a:prstGeom>
          <a:noFill/>
        </p:spPr>
        <p:txBody>
          <a:bodyPr wrap="square" rtlCol="0">
            <a:spAutoFit/>
          </a:bodyPr>
          <a:lstStyle/>
          <a:p>
            <a:r>
              <a:rPr lang="en-US" dirty="0"/>
              <a:t>The number of unserved addresses relative to other states will determine how much funding Alabama receives</a:t>
            </a:r>
          </a:p>
        </p:txBody>
      </p:sp>
      <p:sp>
        <p:nvSpPr>
          <p:cNvPr id="12" name="Arrow: Right 11">
            <a:extLst>
              <a:ext uri="{FF2B5EF4-FFF2-40B4-BE49-F238E27FC236}">
                <a16:creationId xmlns:a16="http://schemas.microsoft.com/office/drawing/2014/main" id="{F2068FA6-4341-252F-FA26-1C702F260C92}"/>
              </a:ext>
            </a:extLst>
          </p:cNvPr>
          <p:cNvSpPr/>
          <p:nvPr/>
        </p:nvSpPr>
        <p:spPr>
          <a:xfrm>
            <a:off x="2897204" y="1880402"/>
            <a:ext cx="8874493" cy="882119"/>
          </a:xfrm>
          <a:prstGeom prst="rightArrow">
            <a:avLst/>
          </a:prstGeom>
          <a:solidFill>
            <a:schemeClr val="accent1">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FCC map challenge process</a:t>
            </a:r>
          </a:p>
        </p:txBody>
      </p:sp>
    </p:spTree>
    <p:extLst>
      <p:ext uri="{BB962C8B-B14F-4D97-AF65-F5344CB8AC3E}">
        <p14:creationId xmlns:p14="http://schemas.microsoft.com/office/powerpoint/2010/main" val="345587307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 name="Straight Connector 1">
            <a:extLst>
              <a:ext uri="{FF2B5EF4-FFF2-40B4-BE49-F238E27FC236}">
                <a16:creationId xmlns:a16="http://schemas.microsoft.com/office/drawing/2014/main" id="{241D6D4D-423E-43CA-BD1F-B15442686241}"/>
              </a:ext>
            </a:extLst>
          </p:cNvPr>
          <p:cNvCxnSpPr/>
          <p:nvPr/>
        </p:nvCxnSpPr>
        <p:spPr>
          <a:xfrm>
            <a:off x="0" y="0"/>
            <a:ext cx="914400" cy="0"/>
          </a:xfrm>
          <a:prstGeom prst="line">
            <a:avLst/>
          </a:prstGeom>
          <a:ln w="0" cap="flat" cmpd="sng" algn="ctr">
            <a:solidFill>
              <a:srgbClr val="FBFFFF"/>
            </a:solidFill>
            <a:prstDash val="solid"/>
            <a:miter lim="800000"/>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graphicFrame>
        <p:nvGraphicFramePr>
          <p:cNvPr id="56" name="Object 55" hidden="1">
            <a:extLst>
              <a:ext uri="{FF2B5EF4-FFF2-40B4-BE49-F238E27FC236}">
                <a16:creationId xmlns:a16="http://schemas.microsoft.com/office/drawing/2014/main" id="{571DBA7E-7568-45C3-9276-A31F5199CE4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56" name="Object 55" hidden="1">
                        <a:extLst>
                          <a:ext uri="{FF2B5EF4-FFF2-40B4-BE49-F238E27FC236}">
                            <a16:creationId xmlns:a16="http://schemas.microsoft.com/office/drawing/2014/main" id="{571DBA7E-7568-45C3-9276-A31F5199CE4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61157286-D27C-48D5-B1FD-DD7A6F810126}"/>
              </a:ext>
            </a:extLst>
          </p:cNvPr>
          <p:cNvSpPr>
            <a:spLocks noGrp="1"/>
          </p:cNvSpPr>
          <p:nvPr>
            <p:ph type="title"/>
          </p:nvPr>
        </p:nvSpPr>
        <p:spPr>
          <a:xfrm>
            <a:off x="561976" y="365129"/>
            <a:ext cx="11077573" cy="679454"/>
          </a:xfrm>
        </p:spPr>
        <p:txBody>
          <a:bodyPr vert="horz">
            <a:normAutofit fontScale="90000"/>
          </a:bodyPr>
          <a:lstStyle/>
          <a:p>
            <a:r>
              <a:rPr lang="en-US" dirty="0">
                <a:latin typeface="Calibri" panose="020F0502020204030204" pitchFamily="34" charset="0"/>
                <a:cs typeface="Calibri" panose="020F0502020204030204" pitchFamily="34" charset="0"/>
              </a:rPr>
              <a:t>Summary of TAP, BEAD, &amp; Digital Equity Timelines</a:t>
            </a:r>
          </a:p>
        </p:txBody>
      </p:sp>
      <p:cxnSp>
        <p:nvCxnSpPr>
          <p:cNvPr id="21" name="Straight Connector 20">
            <a:extLst>
              <a:ext uri="{FF2B5EF4-FFF2-40B4-BE49-F238E27FC236}">
                <a16:creationId xmlns:a16="http://schemas.microsoft.com/office/drawing/2014/main" id="{E366315E-95FB-4A78-BC07-AFB7F4E3CFA1}"/>
              </a:ext>
            </a:extLst>
          </p:cNvPr>
          <p:cNvCxnSpPr>
            <a:cxnSpLocks/>
          </p:cNvCxnSpPr>
          <p:nvPr/>
        </p:nvCxnSpPr>
        <p:spPr>
          <a:xfrm flipV="1">
            <a:off x="1025477" y="3351980"/>
            <a:ext cx="10515600" cy="2286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AD686F93-E10E-4767-AEA5-363D18A74716}"/>
              </a:ext>
            </a:extLst>
          </p:cNvPr>
          <p:cNvCxnSpPr>
            <a:cxnSpLocks/>
          </p:cNvCxnSpPr>
          <p:nvPr/>
        </p:nvCxnSpPr>
        <p:spPr>
          <a:xfrm flipV="1">
            <a:off x="1025477" y="4283484"/>
            <a:ext cx="10515600" cy="2286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7D21CF2D-2216-4B04-B198-DE9CEFB739EE}"/>
              </a:ext>
            </a:extLst>
          </p:cNvPr>
          <p:cNvCxnSpPr>
            <a:cxnSpLocks/>
          </p:cNvCxnSpPr>
          <p:nvPr/>
        </p:nvCxnSpPr>
        <p:spPr>
          <a:xfrm flipV="1">
            <a:off x="1025477" y="5003270"/>
            <a:ext cx="10515600" cy="2286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3C24146F-1B0A-4C47-82CC-FC17490646DC}"/>
              </a:ext>
            </a:extLst>
          </p:cNvPr>
          <p:cNvCxnSpPr>
            <a:cxnSpLocks/>
          </p:cNvCxnSpPr>
          <p:nvPr/>
        </p:nvCxnSpPr>
        <p:spPr>
          <a:xfrm>
            <a:off x="1025477" y="5790656"/>
            <a:ext cx="10515600"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69" name="Content Placeholder 1">
            <a:extLst>
              <a:ext uri="{FF2B5EF4-FFF2-40B4-BE49-F238E27FC236}">
                <a16:creationId xmlns:a16="http://schemas.microsoft.com/office/drawing/2014/main" id="{28DB4FB3-BB14-4176-A465-1EC7A8643924}"/>
              </a:ext>
            </a:extLst>
          </p:cNvPr>
          <p:cNvSpPr>
            <a:spLocks noGrp="1"/>
          </p:cNvSpPr>
          <p:nvPr>
            <p:ph idx="1"/>
          </p:nvPr>
        </p:nvSpPr>
        <p:spPr>
          <a:xfrm>
            <a:off x="1114425" y="2595724"/>
            <a:ext cx="3248612" cy="751840"/>
          </a:xfrm>
        </p:spPr>
        <p:txBody>
          <a:bodyPr anchor="ctr">
            <a:normAutofit/>
          </a:bodyPr>
          <a:lstStyle/>
          <a:p>
            <a:pPr marL="0" indent="0">
              <a:spcBef>
                <a:spcPts val="0"/>
              </a:spcBef>
              <a:buNone/>
            </a:pPr>
            <a:r>
              <a:rPr lang="en-US" sz="1800" dirty="0"/>
              <a:t>Technical Assistance Program</a:t>
            </a:r>
          </a:p>
        </p:txBody>
      </p:sp>
      <p:sp>
        <p:nvSpPr>
          <p:cNvPr id="70" name="Content Placeholder 1">
            <a:extLst>
              <a:ext uri="{FF2B5EF4-FFF2-40B4-BE49-F238E27FC236}">
                <a16:creationId xmlns:a16="http://schemas.microsoft.com/office/drawing/2014/main" id="{077B69D6-18A4-4D37-9841-7E49FE492FFC}"/>
              </a:ext>
            </a:extLst>
          </p:cNvPr>
          <p:cNvSpPr txBox="1">
            <a:spLocks/>
          </p:cNvSpPr>
          <p:nvPr/>
        </p:nvSpPr>
        <p:spPr>
          <a:xfrm>
            <a:off x="1025477" y="3563770"/>
            <a:ext cx="3337560" cy="627868"/>
          </a:xfrm>
          <a:prstGeom prst="rect">
            <a:avLst/>
          </a:prstGeom>
        </p:spPr>
        <p:txBody>
          <a:bodyPr vert="horz" lIns="91440" tIns="45720" rIns="91440" bIns="45720" rtlCol="0" anchor="ctr">
            <a:normAutofit/>
          </a:bodyPr>
          <a:lstStyle>
            <a:lvl1pPr marL="228600" marR="0" indent="-228600" algn="l" defTabSz="685800" rtl="0" eaLnBrk="1" fontAlgn="auto" latinLnBrk="0" hangingPunct="1">
              <a:lnSpc>
                <a:spcPct val="90000"/>
              </a:lnSpc>
              <a:spcBef>
                <a:spcPts val="750"/>
              </a:spcBef>
              <a:spcAft>
                <a:spcPts val="0"/>
              </a:spcAft>
              <a:buClrTx/>
              <a:buSzTx/>
              <a:buFont typeface="Wingdings" panose="05000000000000000000" pitchFamily="2" charset="2"/>
              <a:buChar char="§"/>
              <a:tabLst/>
              <a:defRPr sz="2400" kern="1200">
                <a:solidFill>
                  <a:schemeClr val="tx1"/>
                </a:solidFill>
                <a:latin typeface="+mn-lt"/>
                <a:ea typeface="+mn-ea"/>
                <a:cs typeface="+mn-cs"/>
              </a:defRPr>
            </a:lvl1pPr>
            <a:lvl2pPr marL="514350" marR="0" indent="-171450" algn="l" defTabSz="685800" rtl="0" eaLnBrk="1" fontAlgn="auto" latinLnBrk="0" hangingPunct="1">
              <a:lnSpc>
                <a:spcPct val="90000"/>
              </a:lnSpc>
              <a:spcBef>
                <a:spcPts val="375"/>
              </a:spcBef>
              <a:spcAft>
                <a:spcPts val="0"/>
              </a:spcAft>
              <a:buClrTx/>
              <a:buSzTx/>
              <a:buFont typeface="Wingdings" panose="05000000000000000000" pitchFamily="2" charset="2"/>
              <a:buChar char="§"/>
              <a:tabLst/>
              <a:defRPr sz="2000" kern="1200">
                <a:solidFill>
                  <a:schemeClr val="tx1"/>
                </a:solidFill>
                <a:latin typeface="+mn-lt"/>
                <a:ea typeface="+mn-ea"/>
                <a:cs typeface="+mn-cs"/>
              </a:defRPr>
            </a:lvl2pPr>
            <a:lvl3pPr marL="857250" marR="0" indent="-171450" algn="l" defTabSz="685800" rtl="0" eaLnBrk="1" fontAlgn="auto" latinLnBrk="0" hangingPunct="1">
              <a:lnSpc>
                <a:spcPct val="90000"/>
              </a:lnSpc>
              <a:spcBef>
                <a:spcPts val="375"/>
              </a:spcBef>
              <a:spcAft>
                <a:spcPts val="0"/>
              </a:spcAft>
              <a:buClrTx/>
              <a:buSzTx/>
              <a:buFont typeface="Wingdings" panose="05000000000000000000" pitchFamily="2" charset="2"/>
              <a:buChar char="§"/>
              <a:tabLst/>
              <a:defRPr sz="1800" kern="1200">
                <a:solidFill>
                  <a:schemeClr val="tx1"/>
                </a:solidFill>
                <a:latin typeface="+mn-lt"/>
                <a:ea typeface="+mn-ea"/>
                <a:cs typeface="+mn-cs"/>
              </a:defRPr>
            </a:lvl3pPr>
            <a:lvl4pPr marL="1200150" marR="0" indent="-171450" algn="l" defTabSz="685800" rtl="0" eaLnBrk="1" fontAlgn="auto" latinLnBrk="0" hangingPunct="1">
              <a:lnSpc>
                <a:spcPct val="90000"/>
              </a:lnSpc>
              <a:spcBef>
                <a:spcPts val="375"/>
              </a:spcBef>
              <a:spcAft>
                <a:spcPts val="0"/>
              </a:spcAft>
              <a:buClrTx/>
              <a:buSzTx/>
              <a:buFont typeface="Wingdings" panose="05000000000000000000" pitchFamily="2" charset="2"/>
              <a:buChar char="§"/>
              <a:tabLst/>
              <a:defRPr sz="1600" kern="1200">
                <a:solidFill>
                  <a:schemeClr val="tx1"/>
                </a:solidFill>
                <a:latin typeface="+mn-lt"/>
                <a:ea typeface="+mn-ea"/>
                <a:cs typeface="+mn-cs"/>
              </a:defRPr>
            </a:lvl4pPr>
            <a:lvl5pPr marL="1543050" marR="0" indent="-171450" algn="l" defTabSz="685800" rtl="0" eaLnBrk="1" fontAlgn="auto" latinLnBrk="0" hangingPunct="1">
              <a:lnSpc>
                <a:spcPct val="90000"/>
              </a:lnSpc>
              <a:spcBef>
                <a:spcPts val="375"/>
              </a:spcBef>
              <a:spcAft>
                <a:spcPts val="0"/>
              </a:spcAft>
              <a:buClrTx/>
              <a:buSzTx/>
              <a:buFont typeface="Wingdings" panose="05000000000000000000" pitchFamily="2" charset="2"/>
              <a:buChar char="§"/>
              <a:tabLst/>
              <a:defRPr sz="14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spcBef>
                <a:spcPts val="0"/>
              </a:spcBef>
              <a:buFont typeface="Wingdings" panose="05000000000000000000" pitchFamily="2" charset="2"/>
              <a:buNone/>
            </a:pPr>
            <a:r>
              <a:rPr lang="en-US" sz="1800" dirty="0"/>
              <a:t>Digital equity planning &amp; programs</a:t>
            </a:r>
          </a:p>
        </p:txBody>
      </p:sp>
      <p:sp>
        <p:nvSpPr>
          <p:cNvPr id="71" name="Content Placeholder 1">
            <a:extLst>
              <a:ext uri="{FF2B5EF4-FFF2-40B4-BE49-F238E27FC236}">
                <a16:creationId xmlns:a16="http://schemas.microsoft.com/office/drawing/2014/main" id="{C99F1B58-0516-4F78-B0F0-B5BA1C0C7CCB}"/>
              </a:ext>
            </a:extLst>
          </p:cNvPr>
          <p:cNvSpPr txBox="1">
            <a:spLocks/>
          </p:cNvSpPr>
          <p:nvPr/>
        </p:nvSpPr>
        <p:spPr>
          <a:xfrm>
            <a:off x="1025477" y="4365747"/>
            <a:ext cx="3337560" cy="625286"/>
          </a:xfrm>
          <a:prstGeom prst="rect">
            <a:avLst/>
          </a:prstGeom>
        </p:spPr>
        <p:txBody>
          <a:bodyPr vert="horz" lIns="91440" tIns="45720" rIns="91440" bIns="45720" rtlCol="0" anchor="ctr">
            <a:normAutofit/>
          </a:bodyPr>
          <a:lstStyle>
            <a:lvl1pPr marL="228600" marR="0" indent="-228600" algn="l" defTabSz="685800" rtl="0" eaLnBrk="1" fontAlgn="auto" latinLnBrk="0" hangingPunct="1">
              <a:lnSpc>
                <a:spcPct val="90000"/>
              </a:lnSpc>
              <a:spcBef>
                <a:spcPts val="750"/>
              </a:spcBef>
              <a:spcAft>
                <a:spcPts val="0"/>
              </a:spcAft>
              <a:buClrTx/>
              <a:buSzTx/>
              <a:buFont typeface="Wingdings" panose="05000000000000000000" pitchFamily="2" charset="2"/>
              <a:buChar char="§"/>
              <a:tabLst/>
              <a:defRPr sz="2400" kern="1200">
                <a:solidFill>
                  <a:schemeClr val="tx1"/>
                </a:solidFill>
                <a:latin typeface="+mn-lt"/>
                <a:ea typeface="+mn-ea"/>
                <a:cs typeface="+mn-cs"/>
              </a:defRPr>
            </a:lvl1pPr>
            <a:lvl2pPr marL="514350" marR="0" indent="-171450" algn="l" defTabSz="685800" rtl="0" eaLnBrk="1" fontAlgn="auto" latinLnBrk="0" hangingPunct="1">
              <a:lnSpc>
                <a:spcPct val="90000"/>
              </a:lnSpc>
              <a:spcBef>
                <a:spcPts val="375"/>
              </a:spcBef>
              <a:spcAft>
                <a:spcPts val="0"/>
              </a:spcAft>
              <a:buClrTx/>
              <a:buSzTx/>
              <a:buFont typeface="Wingdings" panose="05000000000000000000" pitchFamily="2" charset="2"/>
              <a:buChar char="§"/>
              <a:tabLst/>
              <a:defRPr sz="2000" kern="1200">
                <a:solidFill>
                  <a:schemeClr val="tx1"/>
                </a:solidFill>
                <a:latin typeface="+mn-lt"/>
                <a:ea typeface="+mn-ea"/>
                <a:cs typeface="+mn-cs"/>
              </a:defRPr>
            </a:lvl2pPr>
            <a:lvl3pPr marL="857250" marR="0" indent="-171450" algn="l" defTabSz="685800" rtl="0" eaLnBrk="1" fontAlgn="auto" latinLnBrk="0" hangingPunct="1">
              <a:lnSpc>
                <a:spcPct val="90000"/>
              </a:lnSpc>
              <a:spcBef>
                <a:spcPts val="375"/>
              </a:spcBef>
              <a:spcAft>
                <a:spcPts val="0"/>
              </a:spcAft>
              <a:buClrTx/>
              <a:buSzTx/>
              <a:buFont typeface="Wingdings" panose="05000000000000000000" pitchFamily="2" charset="2"/>
              <a:buChar char="§"/>
              <a:tabLst/>
              <a:defRPr sz="1800" kern="1200">
                <a:solidFill>
                  <a:schemeClr val="tx1"/>
                </a:solidFill>
                <a:latin typeface="+mn-lt"/>
                <a:ea typeface="+mn-ea"/>
                <a:cs typeface="+mn-cs"/>
              </a:defRPr>
            </a:lvl3pPr>
            <a:lvl4pPr marL="1200150" marR="0" indent="-171450" algn="l" defTabSz="685800" rtl="0" eaLnBrk="1" fontAlgn="auto" latinLnBrk="0" hangingPunct="1">
              <a:lnSpc>
                <a:spcPct val="90000"/>
              </a:lnSpc>
              <a:spcBef>
                <a:spcPts val="375"/>
              </a:spcBef>
              <a:spcAft>
                <a:spcPts val="0"/>
              </a:spcAft>
              <a:buClrTx/>
              <a:buSzTx/>
              <a:buFont typeface="Wingdings" panose="05000000000000000000" pitchFamily="2" charset="2"/>
              <a:buChar char="§"/>
              <a:tabLst/>
              <a:defRPr sz="1600" kern="1200">
                <a:solidFill>
                  <a:schemeClr val="tx1"/>
                </a:solidFill>
                <a:latin typeface="+mn-lt"/>
                <a:ea typeface="+mn-ea"/>
                <a:cs typeface="+mn-cs"/>
              </a:defRPr>
            </a:lvl4pPr>
            <a:lvl5pPr marL="1543050" marR="0" indent="-171450" algn="l" defTabSz="685800" rtl="0" eaLnBrk="1" fontAlgn="auto" latinLnBrk="0" hangingPunct="1">
              <a:lnSpc>
                <a:spcPct val="90000"/>
              </a:lnSpc>
              <a:spcBef>
                <a:spcPts val="375"/>
              </a:spcBef>
              <a:spcAft>
                <a:spcPts val="0"/>
              </a:spcAft>
              <a:buClrTx/>
              <a:buSzTx/>
              <a:buFont typeface="Wingdings" panose="05000000000000000000" pitchFamily="2" charset="2"/>
              <a:buChar char="§"/>
              <a:tabLst/>
              <a:defRPr sz="14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spcBef>
                <a:spcPts val="0"/>
              </a:spcBef>
              <a:buFont typeface="Wingdings" panose="05000000000000000000" pitchFamily="2" charset="2"/>
              <a:buNone/>
            </a:pPr>
            <a:r>
              <a:rPr lang="en-US" sz="1800" dirty="0"/>
              <a:t>BEAD planning</a:t>
            </a:r>
          </a:p>
        </p:txBody>
      </p:sp>
      <p:sp>
        <p:nvSpPr>
          <p:cNvPr id="72" name="Content Placeholder 1">
            <a:extLst>
              <a:ext uri="{FF2B5EF4-FFF2-40B4-BE49-F238E27FC236}">
                <a16:creationId xmlns:a16="http://schemas.microsoft.com/office/drawing/2014/main" id="{D73C6C70-44D2-4FAC-A27A-54C6EFC00675}"/>
              </a:ext>
            </a:extLst>
          </p:cNvPr>
          <p:cNvSpPr txBox="1">
            <a:spLocks/>
          </p:cNvSpPr>
          <p:nvPr/>
        </p:nvSpPr>
        <p:spPr>
          <a:xfrm>
            <a:off x="1025477" y="5130213"/>
            <a:ext cx="3337560" cy="622328"/>
          </a:xfrm>
          <a:prstGeom prst="rect">
            <a:avLst/>
          </a:prstGeom>
        </p:spPr>
        <p:txBody>
          <a:bodyPr vert="horz" lIns="91440" tIns="45720" rIns="91440" bIns="45720" rtlCol="0" anchor="ctr">
            <a:normAutofit/>
          </a:bodyPr>
          <a:lstStyle>
            <a:lvl1pPr marL="228600" marR="0" indent="-228600" algn="l" defTabSz="685800" rtl="0" eaLnBrk="1" fontAlgn="auto" latinLnBrk="0" hangingPunct="1">
              <a:lnSpc>
                <a:spcPct val="90000"/>
              </a:lnSpc>
              <a:spcBef>
                <a:spcPts val="750"/>
              </a:spcBef>
              <a:spcAft>
                <a:spcPts val="0"/>
              </a:spcAft>
              <a:buClrTx/>
              <a:buSzTx/>
              <a:buFont typeface="Wingdings" panose="05000000000000000000" pitchFamily="2" charset="2"/>
              <a:buChar char="§"/>
              <a:tabLst/>
              <a:defRPr sz="2400" kern="1200">
                <a:solidFill>
                  <a:schemeClr val="tx1"/>
                </a:solidFill>
                <a:latin typeface="+mn-lt"/>
                <a:ea typeface="+mn-ea"/>
                <a:cs typeface="+mn-cs"/>
              </a:defRPr>
            </a:lvl1pPr>
            <a:lvl2pPr marL="514350" marR="0" indent="-171450" algn="l" defTabSz="685800" rtl="0" eaLnBrk="1" fontAlgn="auto" latinLnBrk="0" hangingPunct="1">
              <a:lnSpc>
                <a:spcPct val="90000"/>
              </a:lnSpc>
              <a:spcBef>
                <a:spcPts val="375"/>
              </a:spcBef>
              <a:spcAft>
                <a:spcPts val="0"/>
              </a:spcAft>
              <a:buClrTx/>
              <a:buSzTx/>
              <a:buFont typeface="Wingdings" panose="05000000000000000000" pitchFamily="2" charset="2"/>
              <a:buChar char="§"/>
              <a:tabLst/>
              <a:defRPr sz="2000" kern="1200">
                <a:solidFill>
                  <a:schemeClr val="tx1"/>
                </a:solidFill>
                <a:latin typeface="+mn-lt"/>
                <a:ea typeface="+mn-ea"/>
                <a:cs typeface="+mn-cs"/>
              </a:defRPr>
            </a:lvl2pPr>
            <a:lvl3pPr marL="857250" marR="0" indent="-171450" algn="l" defTabSz="685800" rtl="0" eaLnBrk="1" fontAlgn="auto" latinLnBrk="0" hangingPunct="1">
              <a:lnSpc>
                <a:spcPct val="90000"/>
              </a:lnSpc>
              <a:spcBef>
                <a:spcPts val="375"/>
              </a:spcBef>
              <a:spcAft>
                <a:spcPts val="0"/>
              </a:spcAft>
              <a:buClrTx/>
              <a:buSzTx/>
              <a:buFont typeface="Wingdings" panose="05000000000000000000" pitchFamily="2" charset="2"/>
              <a:buChar char="§"/>
              <a:tabLst/>
              <a:defRPr sz="1800" kern="1200">
                <a:solidFill>
                  <a:schemeClr val="tx1"/>
                </a:solidFill>
                <a:latin typeface="+mn-lt"/>
                <a:ea typeface="+mn-ea"/>
                <a:cs typeface="+mn-cs"/>
              </a:defRPr>
            </a:lvl3pPr>
            <a:lvl4pPr marL="1200150" marR="0" indent="-171450" algn="l" defTabSz="685800" rtl="0" eaLnBrk="1" fontAlgn="auto" latinLnBrk="0" hangingPunct="1">
              <a:lnSpc>
                <a:spcPct val="90000"/>
              </a:lnSpc>
              <a:spcBef>
                <a:spcPts val="375"/>
              </a:spcBef>
              <a:spcAft>
                <a:spcPts val="0"/>
              </a:spcAft>
              <a:buClrTx/>
              <a:buSzTx/>
              <a:buFont typeface="Wingdings" panose="05000000000000000000" pitchFamily="2" charset="2"/>
              <a:buChar char="§"/>
              <a:tabLst/>
              <a:defRPr sz="1600" kern="1200">
                <a:solidFill>
                  <a:schemeClr val="tx1"/>
                </a:solidFill>
                <a:latin typeface="+mn-lt"/>
                <a:ea typeface="+mn-ea"/>
                <a:cs typeface="+mn-cs"/>
              </a:defRPr>
            </a:lvl4pPr>
            <a:lvl5pPr marL="1543050" marR="0" indent="-171450" algn="l" defTabSz="685800" rtl="0" eaLnBrk="1" fontAlgn="auto" latinLnBrk="0" hangingPunct="1">
              <a:lnSpc>
                <a:spcPct val="90000"/>
              </a:lnSpc>
              <a:spcBef>
                <a:spcPts val="375"/>
              </a:spcBef>
              <a:spcAft>
                <a:spcPts val="0"/>
              </a:spcAft>
              <a:buClrTx/>
              <a:buSzTx/>
              <a:buFont typeface="Wingdings" panose="05000000000000000000" pitchFamily="2" charset="2"/>
              <a:buChar char="§"/>
              <a:tabLst/>
              <a:defRPr sz="14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spcBef>
                <a:spcPts val="0"/>
              </a:spcBef>
              <a:buFont typeface="Wingdings" panose="05000000000000000000" pitchFamily="2" charset="2"/>
              <a:buNone/>
            </a:pPr>
            <a:r>
              <a:rPr lang="en-US" sz="1800" dirty="0"/>
              <a:t>BEAD grant program</a:t>
            </a:r>
          </a:p>
        </p:txBody>
      </p:sp>
      <p:sp>
        <p:nvSpPr>
          <p:cNvPr id="73" name="Content Placeholder 1">
            <a:extLst>
              <a:ext uri="{FF2B5EF4-FFF2-40B4-BE49-F238E27FC236}">
                <a16:creationId xmlns:a16="http://schemas.microsoft.com/office/drawing/2014/main" id="{0258236E-C367-4E86-BF42-A4F1FA335F00}"/>
              </a:ext>
            </a:extLst>
          </p:cNvPr>
          <p:cNvSpPr txBox="1">
            <a:spLocks/>
          </p:cNvSpPr>
          <p:nvPr/>
        </p:nvSpPr>
        <p:spPr>
          <a:xfrm>
            <a:off x="1025477" y="5805706"/>
            <a:ext cx="3337560" cy="622328"/>
          </a:xfrm>
          <a:prstGeom prst="rect">
            <a:avLst/>
          </a:prstGeom>
        </p:spPr>
        <p:txBody>
          <a:bodyPr vert="horz" lIns="91440" tIns="45720" rIns="91440" bIns="45720" rtlCol="0" anchor="ctr">
            <a:normAutofit/>
          </a:bodyPr>
          <a:lstStyle>
            <a:lvl1pPr marL="228600" marR="0" indent="-228600" algn="l" defTabSz="685800" rtl="0" eaLnBrk="1" fontAlgn="auto" latinLnBrk="0" hangingPunct="1">
              <a:lnSpc>
                <a:spcPct val="90000"/>
              </a:lnSpc>
              <a:spcBef>
                <a:spcPts val="750"/>
              </a:spcBef>
              <a:spcAft>
                <a:spcPts val="0"/>
              </a:spcAft>
              <a:buClrTx/>
              <a:buSzTx/>
              <a:buFont typeface="Wingdings" panose="05000000000000000000" pitchFamily="2" charset="2"/>
              <a:buChar char="§"/>
              <a:tabLst/>
              <a:defRPr sz="2400" kern="1200">
                <a:solidFill>
                  <a:schemeClr val="tx1"/>
                </a:solidFill>
                <a:latin typeface="+mn-lt"/>
                <a:ea typeface="+mn-ea"/>
                <a:cs typeface="+mn-cs"/>
              </a:defRPr>
            </a:lvl1pPr>
            <a:lvl2pPr marL="514350" marR="0" indent="-171450" algn="l" defTabSz="685800" rtl="0" eaLnBrk="1" fontAlgn="auto" latinLnBrk="0" hangingPunct="1">
              <a:lnSpc>
                <a:spcPct val="90000"/>
              </a:lnSpc>
              <a:spcBef>
                <a:spcPts val="375"/>
              </a:spcBef>
              <a:spcAft>
                <a:spcPts val="0"/>
              </a:spcAft>
              <a:buClrTx/>
              <a:buSzTx/>
              <a:buFont typeface="Wingdings" panose="05000000000000000000" pitchFamily="2" charset="2"/>
              <a:buChar char="§"/>
              <a:tabLst/>
              <a:defRPr sz="2000" kern="1200">
                <a:solidFill>
                  <a:schemeClr val="tx1"/>
                </a:solidFill>
                <a:latin typeface="+mn-lt"/>
                <a:ea typeface="+mn-ea"/>
                <a:cs typeface="+mn-cs"/>
              </a:defRPr>
            </a:lvl2pPr>
            <a:lvl3pPr marL="857250" marR="0" indent="-171450" algn="l" defTabSz="685800" rtl="0" eaLnBrk="1" fontAlgn="auto" latinLnBrk="0" hangingPunct="1">
              <a:lnSpc>
                <a:spcPct val="90000"/>
              </a:lnSpc>
              <a:spcBef>
                <a:spcPts val="375"/>
              </a:spcBef>
              <a:spcAft>
                <a:spcPts val="0"/>
              </a:spcAft>
              <a:buClrTx/>
              <a:buSzTx/>
              <a:buFont typeface="Wingdings" panose="05000000000000000000" pitchFamily="2" charset="2"/>
              <a:buChar char="§"/>
              <a:tabLst/>
              <a:defRPr sz="1800" kern="1200">
                <a:solidFill>
                  <a:schemeClr val="tx1"/>
                </a:solidFill>
                <a:latin typeface="+mn-lt"/>
                <a:ea typeface="+mn-ea"/>
                <a:cs typeface="+mn-cs"/>
              </a:defRPr>
            </a:lvl3pPr>
            <a:lvl4pPr marL="1200150" marR="0" indent="-171450" algn="l" defTabSz="685800" rtl="0" eaLnBrk="1" fontAlgn="auto" latinLnBrk="0" hangingPunct="1">
              <a:lnSpc>
                <a:spcPct val="90000"/>
              </a:lnSpc>
              <a:spcBef>
                <a:spcPts val="375"/>
              </a:spcBef>
              <a:spcAft>
                <a:spcPts val="0"/>
              </a:spcAft>
              <a:buClrTx/>
              <a:buSzTx/>
              <a:buFont typeface="Wingdings" panose="05000000000000000000" pitchFamily="2" charset="2"/>
              <a:buChar char="§"/>
              <a:tabLst/>
              <a:defRPr sz="1600" kern="1200">
                <a:solidFill>
                  <a:schemeClr val="tx1"/>
                </a:solidFill>
                <a:latin typeface="+mn-lt"/>
                <a:ea typeface="+mn-ea"/>
                <a:cs typeface="+mn-cs"/>
              </a:defRPr>
            </a:lvl4pPr>
            <a:lvl5pPr marL="1543050" marR="0" indent="-171450" algn="l" defTabSz="685800" rtl="0" eaLnBrk="1" fontAlgn="auto" latinLnBrk="0" hangingPunct="1">
              <a:lnSpc>
                <a:spcPct val="90000"/>
              </a:lnSpc>
              <a:spcBef>
                <a:spcPts val="375"/>
              </a:spcBef>
              <a:spcAft>
                <a:spcPts val="0"/>
              </a:spcAft>
              <a:buClrTx/>
              <a:buSzTx/>
              <a:buFont typeface="Wingdings" panose="05000000000000000000" pitchFamily="2" charset="2"/>
              <a:buChar char="§"/>
              <a:tabLst/>
              <a:defRPr sz="14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spcBef>
                <a:spcPts val="0"/>
              </a:spcBef>
              <a:buFont typeface="Wingdings" panose="05000000000000000000" pitchFamily="2" charset="2"/>
              <a:buNone/>
            </a:pPr>
            <a:r>
              <a:rPr lang="en-US" sz="1800" dirty="0"/>
              <a:t>BEAD deployment</a:t>
            </a:r>
          </a:p>
        </p:txBody>
      </p:sp>
      <p:sp>
        <p:nvSpPr>
          <p:cNvPr id="55" name="Oval 54">
            <a:extLst>
              <a:ext uri="{FF2B5EF4-FFF2-40B4-BE49-F238E27FC236}">
                <a16:creationId xmlns:a16="http://schemas.microsoft.com/office/drawing/2014/main" id="{A42186FD-0FD2-42E9-A74D-D2DA5E54F1CD}"/>
              </a:ext>
            </a:extLst>
          </p:cNvPr>
          <p:cNvSpPr/>
          <p:nvPr/>
        </p:nvSpPr>
        <p:spPr>
          <a:xfrm>
            <a:off x="606058" y="2722919"/>
            <a:ext cx="365760" cy="365760"/>
          </a:xfrm>
          <a:prstGeom prst="ellipse">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vert="horz" rtlCol="0" anchor="ctr"/>
          <a:lstStyle/>
          <a:p>
            <a:pPr algn="ctr"/>
            <a:r>
              <a:rPr lang="en-US" b="1" dirty="0"/>
              <a:t>1</a:t>
            </a:r>
          </a:p>
        </p:txBody>
      </p:sp>
      <p:sp>
        <p:nvSpPr>
          <p:cNvPr id="57" name="Oval 56">
            <a:extLst>
              <a:ext uri="{FF2B5EF4-FFF2-40B4-BE49-F238E27FC236}">
                <a16:creationId xmlns:a16="http://schemas.microsoft.com/office/drawing/2014/main" id="{23093644-FBC4-4D88-81E7-87783581CE5A}"/>
              </a:ext>
            </a:extLst>
          </p:cNvPr>
          <p:cNvSpPr/>
          <p:nvPr/>
        </p:nvSpPr>
        <p:spPr>
          <a:xfrm>
            <a:off x="606058" y="3586442"/>
            <a:ext cx="365760" cy="365760"/>
          </a:xfrm>
          <a:prstGeom prst="ellipse">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vert="horz" lIns="0" tIns="0" rIns="0" bIns="0" rtlCol="0" anchor="ctr"/>
          <a:lstStyle/>
          <a:p>
            <a:pPr algn="ctr"/>
            <a:r>
              <a:rPr lang="en-US" b="1" dirty="0"/>
              <a:t>2</a:t>
            </a:r>
          </a:p>
        </p:txBody>
      </p:sp>
      <p:sp>
        <p:nvSpPr>
          <p:cNvPr id="58" name="Oval 57">
            <a:extLst>
              <a:ext uri="{FF2B5EF4-FFF2-40B4-BE49-F238E27FC236}">
                <a16:creationId xmlns:a16="http://schemas.microsoft.com/office/drawing/2014/main" id="{9A5B399A-86D0-42DC-84F2-4C31F404BC91}"/>
              </a:ext>
            </a:extLst>
          </p:cNvPr>
          <p:cNvSpPr/>
          <p:nvPr/>
        </p:nvSpPr>
        <p:spPr>
          <a:xfrm>
            <a:off x="606058" y="4485875"/>
            <a:ext cx="365760" cy="365760"/>
          </a:xfrm>
          <a:prstGeom prst="ellipse">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vert="horz" lIns="0" tIns="0" rIns="0" bIns="0" rtlCol="0" anchor="ctr"/>
          <a:lstStyle/>
          <a:p>
            <a:pPr algn="ctr"/>
            <a:r>
              <a:rPr lang="en-US" b="1" dirty="0"/>
              <a:t>3</a:t>
            </a:r>
          </a:p>
        </p:txBody>
      </p:sp>
      <p:sp>
        <p:nvSpPr>
          <p:cNvPr id="67" name="Oval 66">
            <a:extLst>
              <a:ext uri="{FF2B5EF4-FFF2-40B4-BE49-F238E27FC236}">
                <a16:creationId xmlns:a16="http://schemas.microsoft.com/office/drawing/2014/main" id="{E5432C85-4359-4F51-B5C1-59A255678E33}"/>
              </a:ext>
            </a:extLst>
          </p:cNvPr>
          <p:cNvSpPr/>
          <p:nvPr/>
        </p:nvSpPr>
        <p:spPr>
          <a:xfrm>
            <a:off x="606058" y="5258497"/>
            <a:ext cx="365760" cy="365760"/>
          </a:xfrm>
          <a:prstGeom prst="ellipse">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vert="horz" lIns="0" tIns="0" rIns="0" bIns="0" rtlCol="0" anchor="ctr"/>
          <a:lstStyle/>
          <a:p>
            <a:pPr algn="ctr"/>
            <a:r>
              <a:rPr lang="en-US" b="1" dirty="0"/>
              <a:t>4</a:t>
            </a:r>
          </a:p>
        </p:txBody>
      </p:sp>
      <p:sp>
        <p:nvSpPr>
          <p:cNvPr id="68" name="Oval 67">
            <a:extLst>
              <a:ext uri="{FF2B5EF4-FFF2-40B4-BE49-F238E27FC236}">
                <a16:creationId xmlns:a16="http://schemas.microsoft.com/office/drawing/2014/main" id="{6DA8EBB3-9B7D-44FB-8F00-763C66A4B073}"/>
              </a:ext>
            </a:extLst>
          </p:cNvPr>
          <p:cNvSpPr/>
          <p:nvPr/>
        </p:nvSpPr>
        <p:spPr>
          <a:xfrm>
            <a:off x="606058" y="5933990"/>
            <a:ext cx="365760" cy="365760"/>
          </a:xfrm>
          <a:prstGeom prst="ellipse">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vert="horz" lIns="0" tIns="0" rIns="0" bIns="0" rtlCol="0" anchor="ctr"/>
          <a:lstStyle/>
          <a:p>
            <a:pPr algn="ctr"/>
            <a:r>
              <a:rPr lang="en-US" b="1" dirty="0"/>
              <a:t>5</a:t>
            </a:r>
          </a:p>
        </p:txBody>
      </p:sp>
      <p:sp>
        <p:nvSpPr>
          <p:cNvPr id="76" name="Rectangle 75">
            <a:extLst>
              <a:ext uri="{FF2B5EF4-FFF2-40B4-BE49-F238E27FC236}">
                <a16:creationId xmlns:a16="http://schemas.microsoft.com/office/drawing/2014/main" id="{E386BAEC-9CE8-4B5E-9F25-722C6FCBE1F5}"/>
              </a:ext>
            </a:extLst>
          </p:cNvPr>
          <p:cNvSpPr/>
          <p:nvPr/>
        </p:nvSpPr>
        <p:spPr>
          <a:xfrm>
            <a:off x="4363037" y="1684224"/>
            <a:ext cx="1732963" cy="700976"/>
          </a:xfrm>
          <a:prstGeom prst="rect">
            <a:avLst/>
          </a:prstGeom>
          <a:solidFill>
            <a:schemeClr val="accent2">
              <a:lumMod val="50000"/>
            </a:schemeClr>
          </a:solidFill>
          <a:ln>
            <a:solidFill>
              <a:srgbClr val="37335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2023</a:t>
            </a:r>
          </a:p>
          <a:p>
            <a:pPr algn="ctr"/>
            <a:r>
              <a:rPr lang="en-US" dirty="0"/>
              <a:t>Q1-2</a:t>
            </a:r>
          </a:p>
        </p:txBody>
      </p:sp>
      <p:sp>
        <p:nvSpPr>
          <p:cNvPr id="77" name="Rectangle 76">
            <a:extLst>
              <a:ext uri="{FF2B5EF4-FFF2-40B4-BE49-F238E27FC236}">
                <a16:creationId xmlns:a16="http://schemas.microsoft.com/office/drawing/2014/main" id="{D70D6C4D-867A-47CF-B692-68AFBD1A4452}"/>
              </a:ext>
            </a:extLst>
          </p:cNvPr>
          <p:cNvSpPr/>
          <p:nvPr/>
        </p:nvSpPr>
        <p:spPr>
          <a:xfrm>
            <a:off x="6096000" y="1689204"/>
            <a:ext cx="1565709" cy="694729"/>
          </a:xfrm>
          <a:prstGeom prst="rect">
            <a:avLst/>
          </a:prstGeom>
          <a:solidFill>
            <a:schemeClr val="accent2">
              <a:lumMod val="50000"/>
            </a:schemeClr>
          </a:solidFill>
          <a:ln>
            <a:solidFill>
              <a:srgbClr val="37335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2023</a:t>
            </a:r>
          </a:p>
          <a:p>
            <a:pPr algn="ctr"/>
            <a:r>
              <a:rPr lang="en-US" dirty="0"/>
              <a:t>Q3-4</a:t>
            </a:r>
          </a:p>
        </p:txBody>
      </p:sp>
      <p:sp>
        <p:nvSpPr>
          <p:cNvPr id="78" name="Rectangle 77">
            <a:extLst>
              <a:ext uri="{FF2B5EF4-FFF2-40B4-BE49-F238E27FC236}">
                <a16:creationId xmlns:a16="http://schemas.microsoft.com/office/drawing/2014/main" id="{DCCF0479-FEB3-49E3-BC21-C4E57F34E9A8}"/>
              </a:ext>
            </a:extLst>
          </p:cNvPr>
          <p:cNvSpPr/>
          <p:nvPr/>
        </p:nvSpPr>
        <p:spPr>
          <a:xfrm>
            <a:off x="7661709" y="1689204"/>
            <a:ext cx="1502490" cy="694729"/>
          </a:xfrm>
          <a:prstGeom prst="rect">
            <a:avLst/>
          </a:prstGeom>
          <a:solidFill>
            <a:schemeClr val="accent2">
              <a:lumMod val="50000"/>
            </a:schemeClr>
          </a:solidFill>
          <a:ln>
            <a:solidFill>
              <a:srgbClr val="37335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2024</a:t>
            </a:r>
          </a:p>
          <a:p>
            <a:pPr algn="ctr"/>
            <a:r>
              <a:rPr lang="en-US" dirty="0"/>
              <a:t>Q1-2</a:t>
            </a:r>
          </a:p>
        </p:txBody>
      </p:sp>
      <p:sp>
        <p:nvSpPr>
          <p:cNvPr id="79" name="Rectangle 78">
            <a:extLst>
              <a:ext uri="{FF2B5EF4-FFF2-40B4-BE49-F238E27FC236}">
                <a16:creationId xmlns:a16="http://schemas.microsoft.com/office/drawing/2014/main" id="{1E3E1414-06D3-40FD-909A-CDECD323988D}"/>
              </a:ext>
            </a:extLst>
          </p:cNvPr>
          <p:cNvSpPr/>
          <p:nvPr/>
        </p:nvSpPr>
        <p:spPr>
          <a:xfrm>
            <a:off x="9164199" y="1684224"/>
            <a:ext cx="1188720" cy="694728"/>
          </a:xfrm>
          <a:prstGeom prst="rect">
            <a:avLst/>
          </a:prstGeom>
          <a:solidFill>
            <a:schemeClr val="accent2">
              <a:lumMod val="50000"/>
            </a:schemeClr>
          </a:solidFill>
          <a:ln>
            <a:solidFill>
              <a:srgbClr val="37335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2024</a:t>
            </a:r>
          </a:p>
          <a:p>
            <a:pPr algn="ctr"/>
            <a:r>
              <a:rPr lang="en-US" dirty="0"/>
              <a:t>Q3-4</a:t>
            </a:r>
          </a:p>
        </p:txBody>
      </p:sp>
      <p:sp>
        <p:nvSpPr>
          <p:cNvPr id="80" name="Rectangle 79">
            <a:extLst>
              <a:ext uri="{FF2B5EF4-FFF2-40B4-BE49-F238E27FC236}">
                <a16:creationId xmlns:a16="http://schemas.microsoft.com/office/drawing/2014/main" id="{69D34CE3-C3C4-48FB-9A8C-68477F299B3A}"/>
              </a:ext>
            </a:extLst>
          </p:cNvPr>
          <p:cNvSpPr/>
          <p:nvPr/>
        </p:nvSpPr>
        <p:spPr>
          <a:xfrm>
            <a:off x="10352919" y="1689204"/>
            <a:ext cx="1188720" cy="694729"/>
          </a:xfrm>
          <a:prstGeom prst="rect">
            <a:avLst/>
          </a:prstGeom>
          <a:solidFill>
            <a:schemeClr val="accent2">
              <a:lumMod val="50000"/>
            </a:schemeClr>
          </a:solidFill>
          <a:ln>
            <a:solidFill>
              <a:srgbClr val="37335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2025 +</a:t>
            </a:r>
          </a:p>
        </p:txBody>
      </p:sp>
      <p:sp>
        <p:nvSpPr>
          <p:cNvPr id="82" name="Arrow: Chevron 81">
            <a:extLst>
              <a:ext uri="{FF2B5EF4-FFF2-40B4-BE49-F238E27FC236}">
                <a16:creationId xmlns:a16="http://schemas.microsoft.com/office/drawing/2014/main" id="{CA7B2484-6FBE-4CB3-9243-377197721FA3}"/>
              </a:ext>
            </a:extLst>
          </p:cNvPr>
          <p:cNvSpPr/>
          <p:nvPr/>
        </p:nvSpPr>
        <p:spPr>
          <a:xfrm>
            <a:off x="4363037" y="2674452"/>
            <a:ext cx="2399713" cy="568409"/>
          </a:xfrm>
          <a:prstGeom prst="chevron">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93" name="Arrow: Chevron 92">
            <a:extLst>
              <a:ext uri="{FF2B5EF4-FFF2-40B4-BE49-F238E27FC236}">
                <a16:creationId xmlns:a16="http://schemas.microsoft.com/office/drawing/2014/main" id="{9200AAD0-084D-4AA4-84D5-1AA856E75483}"/>
              </a:ext>
            </a:extLst>
          </p:cNvPr>
          <p:cNvSpPr/>
          <p:nvPr/>
        </p:nvSpPr>
        <p:spPr>
          <a:xfrm>
            <a:off x="4363037" y="3478923"/>
            <a:ext cx="3612442" cy="729156"/>
          </a:xfrm>
          <a:prstGeom prst="chevron">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rPr>
              <a:t>Planning process</a:t>
            </a:r>
          </a:p>
        </p:txBody>
      </p:sp>
      <p:sp>
        <p:nvSpPr>
          <p:cNvPr id="98" name="Arrow: Chevron 97">
            <a:extLst>
              <a:ext uri="{FF2B5EF4-FFF2-40B4-BE49-F238E27FC236}">
                <a16:creationId xmlns:a16="http://schemas.microsoft.com/office/drawing/2014/main" id="{66B5A629-CCA4-4541-8773-1D0120D03E90}"/>
              </a:ext>
            </a:extLst>
          </p:cNvPr>
          <p:cNvSpPr/>
          <p:nvPr/>
        </p:nvSpPr>
        <p:spPr>
          <a:xfrm>
            <a:off x="7392203" y="5101535"/>
            <a:ext cx="2700196" cy="608146"/>
          </a:xfrm>
          <a:prstGeom prst="chevron">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rPr>
              <a:t>Grant program execution</a:t>
            </a:r>
          </a:p>
        </p:txBody>
      </p:sp>
      <p:sp>
        <p:nvSpPr>
          <p:cNvPr id="99" name="Arrow: Chevron 98">
            <a:extLst>
              <a:ext uri="{FF2B5EF4-FFF2-40B4-BE49-F238E27FC236}">
                <a16:creationId xmlns:a16="http://schemas.microsoft.com/office/drawing/2014/main" id="{D2C17B12-B0A0-481E-A204-6630C88C326D}"/>
              </a:ext>
            </a:extLst>
          </p:cNvPr>
          <p:cNvSpPr/>
          <p:nvPr/>
        </p:nvSpPr>
        <p:spPr>
          <a:xfrm>
            <a:off x="9861576" y="5096963"/>
            <a:ext cx="1990725" cy="603122"/>
          </a:xfrm>
          <a:prstGeom prst="chevron">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rPr>
              <a:t>Final proposal</a:t>
            </a:r>
          </a:p>
        </p:txBody>
      </p:sp>
      <p:sp>
        <p:nvSpPr>
          <p:cNvPr id="103" name="Arrow: Chevron 102">
            <a:extLst>
              <a:ext uri="{FF2B5EF4-FFF2-40B4-BE49-F238E27FC236}">
                <a16:creationId xmlns:a16="http://schemas.microsoft.com/office/drawing/2014/main" id="{F82B0D37-63BF-4CF3-8AB2-C251E986271F}"/>
              </a:ext>
            </a:extLst>
          </p:cNvPr>
          <p:cNvSpPr/>
          <p:nvPr/>
        </p:nvSpPr>
        <p:spPr>
          <a:xfrm>
            <a:off x="10001248" y="5871632"/>
            <a:ext cx="2081875" cy="566928"/>
          </a:xfrm>
          <a:prstGeom prst="chevron">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105" name="Title 3">
            <a:extLst>
              <a:ext uri="{FF2B5EF4-FFF2-40B4-BE49-F238E27FC236}">
                <a16:creationId xmlns:a16="http://schemas.microsoft.com/office/drawing/2014/main" id="{02E25B26-B9D9-4ABD-955F-40B1B6E6AE65}"/>
              </a:ext>
            </a:extLst>
          </p:cNvPr>
          <p:cNvSpPr txBox="1">
            <a:spLocks/>
          </p:cNvSpPr>
          <p:nvPr/>
        </p:nvSpPr>
        <p:spPr>
          <a:xfrm>
            <a:off x="8846053" y="66141"/>
            <a:ext cx="3345947" cy="306414"/>
          </a:xfrm>
          <a:prstGeom prst="rect">
            <a:avLst/>
          </a:prstGeom>
        </p:spPr>
        <p:txBody>
          <a:bodyPr vert="horz" lIns="91440" tIns="45720" rIns="91440" bIns="45720" rtlCol="0" anchor="ctr">
            <a:noAutofit/>
          </a:bodyPr>
          <a:lstStyle>
            <a:lvl1pPr algn="l" defTabSz="685800" rtl="0" eaLnBrk="1" latinLnBrk="0" hangingPunct="1">
              <a:lnSpc>
                <a:spcPct val="80000"/>
              </a:lnSpc>
              <a:spcBef>
                <a:spcPct val="0"/>
              </a:spcBef>
              <a:buNone/>
              <a:defRPr sz="3300" kern="1200">
                <a:solidFill>
                  <a:schemeClr val="tx2">
                    <a:lumMod val="50000"/>
                  </a:schemeClr>
                </a:solidFill>
                <a:latin typeface="+mj-lt"/>
                <a:ea typeface="+mj-ea"/>
                <a:cs typeface="+mj-cs"/>
              </a:defRPr>
            </a:lvl1pPr>
          </a:lstStyle>
          <a:p>
            <a:endParaRPr lang="en-US" sz="1200" i="1"/>
          </a:p>
        </p:txBody>
      </p:sp>
      <p:sp>
        <p:nvSpPr>
          <p:cNvPr id="50" name="Arrow: Chevron 49">
            <a:extLst>
              <a:ext uri="{FF2B5EF4-FFF2-40B4-BE49-F238E27FC236}">
                <a16:creationId xmlns:a16="http://schemas.microsoft.com/office/drawing/2014/main" id="{9050513F-E942-2C86-7DC2-05B82CD24993}"/>
              </a:ext>
            </a:extLst>
          </p:cNvPr>
          <p:cNvSpPr/>
          <p:nvPr/>
        </p:nvSpPr>
        <p:spPr>
          <a:xfrm>
            <a:off x="7988192" y="3403518"/>
            <a:ext cx="4094931" cy="339474"/>
          </a:xfrm>
          <a:prstGeom prst="chevron">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rPr>
              <a:t>State programs</a:t>
            </a:r>
          </a:p>
        </p:txBody>
      </p:sp>
      <p:sp>
        <p:nvSpPr>
          <p:cNvPr id="3" name="Arrow: Chevron 2">
            <a:extLst>
              <a:ext uri="{FF2B5EF4-FFF2-40B4-BE49-F238E27FC236}">
                <a16:creationId xmlns:a16="http://schemas.microsoft.com/office/drawing/2014/main" id="{ED5C2F77-3E18-544B-4954-EE1068B655A3}"/>
              </a:ext>
            </a:extLst>
          </p:cNvPr>
          <p:cNvSpPr/>
          <p:nvPr/>
        </p:nvSpPr>
        <p:spPr>
          <a:xfrm>
            <a:off x="10092399" y="3823967"/>
            <a:ext cx="2048059" cy="386941"/>
          </a:xfrm>
          <a:prstGeom prst="chevron">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rPr>
              <a:t>Federal grants</a:t>
            </a:r>
          </a:p>
        </p:txBody>
      </p:sp>
      <p:sp>
        <p:nvSpPr>
          <p:cNvPr id="5" name="Arrow: Chevron 4">
            <a:extLst>
              <a:ext uri="{FF2B5EF4-FFF2-40B4-BE49-F238E27FC236}">
                <a16:creationId xmlns:a16="http://schemas.microsoft.com/office/drawing/2014/main" id="{FD70D731-80E6-EF69-FF17-3426F14F088F}"/>
              </a:ext>
            </a:extLst>
          </p:cNvPr>
          <p:cNvSpPr/>
          <p:nvPr/>
        </p:nvSpPr>
        <p:spPr>
          <a:xfrm>
            <a:off x="4363037" y="4438323"/>
            <a:ext cx="3955928" cy="460864"/>
          </a:xfrm>
          <a:prstGeom prst="chevron">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rPr>
              <a:t>5-Year Plan &amp; Initial Proposal</a:t>
            </a:r>
          </a:p>
        </p:txBody>
      </p:sp>
    </p:spTree>
    <p:extLst>
      <p:ext uri="{BB962C8B-B14F-4D97-AF65-F5344CB8AC3E}">
        <p14:creationId xmlns:p14="http://schemas.microsoft.com/office/powerpoint/2010/main" val="120306143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Title 21">
            <a:extLst>
              <a:ext uri="{FF2B5EF4-FFF2-40B4-BE49-F238E27FC236}">
                <a16:creationId xmlns:a16="http://schemas.microsoft.com/office/drawing/2014/main" id="{F8FAEED9-1ECD-45F9-87A0-9394BAEABB79}"/>
              </a:ext>
            </a:extLst>
          </p:cNvPr>
          <p:cNvSpPr>
            <a:spLocks noGrp="1"/>
          </p:cNvSpPr>
          <p:nvPr>
            <p:ph type="ctrTitle"/>
          </p:nvPr>
        </p:nvSpPr>
        <p:spPr>
          <a:xfrm>
            <a:off x="550863" y="549275"/>
            <a:ext cx="5437187" cy="2986234"/>
          </a:xfrm>
        </p:spPr>
        <p:txBody>
          <a:bodyPr/>
          <a:lstStyle/>
          <a:p>
            <a:r>
              <a:rPr lang="en-US" dirty="0"/>
              <a:t>The full annual report can be found on the ADECA website.  </a:t>
            </a:r>
          </a:p>
        </p:txBody>
      </p:sp>
      <p:sp>
        <p:nvSpPr>
          <p:cNvPr id="23" name="Subtitle 22">
            <a:extLst>
              <a:ext uri="{FF2B5EF4-FFF2-40B4-BE49-F238E27FC236}">
                <a16:creationId xmlns:a16="http://schemas.microsoft.com/office/drawing/2014/main" id="{8E5E4638-9BCB-4C2E-914F-CC868E2020D5}"/>
              </a:ext>
            </a:extLst>
          </p:cNvPr>
          <p:cNvSpPr>
            <a:spLocks noGrp="1"/>
          </p:cNvSpPr>
          <p:nvPr>
            <p:ph type="subTitle" idx="1"/>
          </p:nvPr>
        </p:nvSpPr>
        <p:spPr>
          <a:xfrm>
            <a:off x="550863" y="3827610"/>
            <a:ext cx="5437187" cy="2265216"/>
          </a:xfrm>
        </p:spPr>
        <p:txBody>
          <a:bodyPr/>
          <a:lstStyle/>
          <a:p>
            <a:r>
              <a:rPr lang="en-US" dirty="0">
                <a:hlinkClick r:id="rId2"/>
              </a:rPr>
              <a:t>broadband.fund@adeca.alabama.gov</a:t>
            </a:r>
            <a:r>
              <a:rPr lang="en-US" dirty="0"/>
              <a:t> </a:t>
            </a:r>
          </a:p>
          <a:p>
            <a:r>
              <a:rPr lang="en-US" dirty="0">
                <a:hlinkClick r:id="rId3"/>
              </a:rPr>
              <a:t>https://adeca.alabama.gov/broadband/</a:t>
            </a:r>
            <a:r>
              <a:rPr lang="en-US" dirty="0"/>
              <a:t> </a:t>
            </a:r>
          </a:p>
        </p:txBody>
      </p:sp>
      <p:sp>
        <p:nvSpPr>
          <p:cNvPr id="6" name="Slide Number Placeholder 5">
            <a:extLst>
              <a:ext uri="{FF2B5EF4-FFF2-40B4-BE49-F238E27FC236}">
                <a16:creationId xmlns:a16="http://schemas.microsoft.com/office/drawing/2014/main" id="{36E60F23-FB58-4EF8-82FD-E86CED25FDD4}"/>
              </a:ext>
            </a:extLst>
          </p:cNvPr>
          <p:cNvSpPr>
            <a:spLocks noGrp="1"/>
          </p:cNvSpPr>
          <p:nvPr>
            <p:ph type="sldNum" sz="quarter" idx="12"/>
          </p:nvPr>
        </p:nvSpPr>
        <p:spPr>
          <a:xfrm>
            <a:off x="9948863" y="6507212"/>
            <a:ext cx="1692274" cy="153888"/>
          </a:xfrm>
        </p:spPr>
        <p:txBody>
          <a:bodyPr/>
          <a:lstStyle/>
          <a:p>
            <a:fld id="{DBA1B0FB-D917-4C8C-928F-313BD683BF39}" type="slidenum">
              <a:rPr lang="en-US" smtClean="0"/>
              <a:pPr/>
              <a:t>14</a:t>
            </a:fld>
            <a:endParaRPr lang="en-US"/>
          </a:p>
        </p:txBody>
      </p:sp>
      <p:graphicFrame>
        <p:nvGraphicFramePr>
          <p:cNvPr id="10" name="Object 9">
            <a:extLst>
              <a:ext uri="{FF2B5EF4-FFF2-40B4-BE49-F238E27FC236}">
                <a16:creationId xmlns:a16="http://schemas.microsoft.com/office/drawing/2014/main" id="{5819525D-2B4A-444B-A1C1-1611068214BB}"/>
              </a:ext>
            </a:extLst>
          </p:cNvPr>
          <p:cNvGraphicFramePr>
            <a:graphicFrameLocks noChangeAspect="1"/>
          </p:cNvGraphicFramePr>
          <p:nvPr>
            <p:extLst>
              <p:ext uri="{D42A27DB-BD31-4B8C-83A1-F6EECF244321}">
                <p14:modId xmlns:p14="http://schemas.microsoft.com/office/powerpoint/2010/main" val="3547862949"/>
              </p:ext>
            </p:extLst>
          </p:nvPr>
        </p:nvGraphicFramePr>
        <p:xfrm>
          <a:off x="6844806" y="411956"/>
          <a:ext cx="4664075" cy="6034088"/>
        </p:xfrm>
        <a:graphic>
          <a:graphicData uri="http://schemas.openxmlformats.org/presentationml/2006/ole">
            <mc:AlternateContent xmlns:mc="http://schemas.openxmlformats.org/markup-compatibility/2006">
              <mc:Choice xmlns:v="urn:schemas-microsoft-com:vml" Requires="v">
                <p:oleObj name="Acrobat Document" r:id="rId4" imgW="4663405" imgH="6034855" progId="Acrobat.Document.DC">
                  <p:embed/>
                </p:oleObj>
              </mc:Choice>
              <mc:Fallback>
                <p:oleObj name="Acrobat Document" r:id="rId4" imgW="4663405" imgH="6034855" progId="Acrobat.Document.DC">
                  <p:embed/>
                  <p:pic>
                    <p:nvPicPr>
                      <p:cNvPr id="10" name="Object 9">
                        <a:extLst>
                          <a:ext uri="{FF2B5EF4-FFF2-40B4-BE49-F238E27FC236}">
                            <a16:creationId xmlns:a16="http://schemas.microsoft.com/office/drawing/2014/main" id="{5819525D-2B4A-444B-A1C1-1611068214BB}"/>
                          </a:ext>
                        </a:extLst>
                      </p:cNvPr>
                      <p:cNvPicPr/>
                      <p:nvPr/>
                    </p:nvPicPr>
                    <p:blipFill>
                      <a:blip r:embed="rId5"/>
                      <a:stretch>
                        <a:fillRect/>
                      </a:stretch>
                    </p:blipFill>
                    <p:spPr>
                      <a:xfrm>
                        <a:off x="6844806" y="411956"/>
                        <a:ext cx="4664075" cy="6034088"/>
                      </a:xfrm>
                      <a:prstGeom prst="rect">
                        <a:avLst/>
                      </a:prstGeom>
                    </p:spPr>
                  </p:pic>
                </p:oleObj>
              </mc:Fallback>
            </mc:AlternateContent>
          </a:graphicData>
        </a:graphic>
      </p:graphicFrame>
    </p:spTree>
    <p:extLst>
      <p:ext uri="{BB962C8B-B14F-4D97-AF65-F5344CB8AC3E}">
        <p14:creationId xmlns:p14="http://schemas.microsoft.com/office/powerpoint/2010/main" val="324779884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046426E-F6F6-4A7C-9181-8C3090996261}"/>
              </a:ext>
            </a:extLst>
          </p:cNvPr>
          <p:cNvSpPr>
            <a:spLocks noGrp="1"/>
          </p:cNvSpPr>
          <p:nvPr>
            <p:ph type="title"/>
          </p:nvPr>
        </p:nvSpPr>
        <p:spPr>
          <a:xfrm>
            <a:off x="550864" y="426129"/>
            <a:ext cx="3565524" cy="683580"/>
          </a:xfrm>
        </p:spPr>
        <p:txBody>
          <a:bodyPr/>
          <a:lstStyle/>
          <a:p>
            <a:r>
              <a:rPr lang="en-US" dirty="0"/>
              <a:t>Topics</a:t>
            </a:r>
          </a:p>
        </p:txBody>
      </p:sp>
      <p:sp>
        <p:nvSpPr>
          <p:cNvPr id="3" name="Content Placeholder 2">
            <a:extLst>
              <a:ext uri="{FF2B5EF4-FFF2-40B4-BE49-F238E27FC236}">
                <a16:creationId xmlns:a16="http://schemas.microsoft.com/office/drawing/2014/main" id="{D3B60D6F-4D0F-4D33-B2A7-159C8583FF00}"/>
              </a:ext>
            </a:extLst>
          </p:cNvPr>
          <p:cNvSpPr>
            <a:spLocks noGrp="1"/>
          </p:cNvSpPr>
          <p:nvPr>
            <p:ph idx="1"/>
          </p:nvPr>
        </p:nvSpPr>
        <p:spPr>
          <a:xfrm>
            <a:off x="550863" y="1355312"/>
            <a:ext cx="3565525" cy="4737514"/>
          </a:xfrm>
        </p:spPr>
        <p:txBody>
          <a:bodyPr/>
          <a:lstStyle/>
          <a:p>
            <a:r>
              <a:rPr lang="en-US" dirty="0"/>
              <a:t>Annual Report</a:t>
            </a:r>
          </a:p>
          <a:p>
            <a:pPr lvl="1"/>
            <a:r>
              <a:rPr lang="en-US" sz="1800" dirty="0"/>
              <a:t>History</a:t>
            </a:r>
          </a:p>
          <a:p>
            <a:pPr lvl="1"/>
            <a:r>
              <a:rPr lang="en-US" sz="1800" dirty="0"/>
              <a:t>Alabama Broadband Accessibility Fund Basics </a:t>
            </a:r>
          </a:p>
          <a:p>
            <a:pPr lvl="1"/>
            <a:r>
              <a:rPr lang="en-US" sz="1800" dirty="0"/>
              <a:t>Funded Projects</a:t>
            </a:r>
          </a:p>
          <a:p>
            <a:pPr lvl="1"/>
            <a:r>
              <a:rPr lang="en-US" sz="1800" dirty="0"/>
              <a:t>Current Applications</a:t>
            </a:r>
          </a:p>
          <a:p>
            <a:pPr marL="0"/>
            <a:r>
              <a:rPr lang="en-US" dirty="0"/>
              <a:t>Technical Assistance Program, BEAD and Digital Equity</a:t>
            </a:r>
          </a:p>
          <a:p>
            <a:r>
              <a:rPr lang="en-US" dirty="0"/>
              <a:t>Middle Mile</a:t>
            </a:r>
          </a:p>
          <a:p>
            <a:r>
              <a:rPr lang="en-US" dirty="0"/>
              <a:t>Mapping</a:t>
            </a:r>
          </a:p>
          <a:p>
            <a:endParaRPr lang="en-US" dirty="0"/>
          </a:p>
        </p:txBody>
      </p:sp>
      <p:pic>
        <p:nvPicPr>
          <p:cNvPr id="8" name="Picture Placeholder 7" descr="Digital Data">
            <a:extLst>
              <a:ext uri="{FF2B5EF4-FFF2-40B4-BE49-F238E27FC236}">
                <a16:creationId xmlns:a16="http://schemas.microsoft.com/office/drawing/2014/main" id="{06D2324F-3B7B-45EF-9584-C8EADD2C8C0B}"/>
              </a:ext>
            </a:extLst>
          </p:cNvPr>
          <p:cNvPicPr>
            <a:picLocks noGrp="1" noChangeAspect="1"/>
          </p:cNvPicPr>
          <p:nvPr>
            <p:ph type="pic" sz="quarter" idx="13"/>
          </p:nvPr>
        </p:nvPicPr>
        <p:blipFill rotWithShape="1">
          <a:blip r:embed="rId2" cstate="screen">
            <a:extLst>
              <a:ext uri="{28A0092B-C50C-407E-A947-70E740481C1C}">
                <a14:useLocalDpi xmlns:a14="http://schemas.microsoft.com/office/drawing/2010/main" val="0"/>
              </a:ext>
            </a:extLst>
          </a:blip>
          <a:srcRect/>
          <a:stretch/>
        </p:blipFill>
        <p:spPr>
          <a:xfrm>
            <a:off x="5208928" y="1596771"/>
            <a:ext cx="3448558" cy="3448558"/>
          </a:xfrm>
        </p:spPr>
      </p:pic>
      <p:pic>
        <p:nvPicPr>
          <p:cNvPr id="10" name="Picture Placeholder 9" descr="Data Points ">
            <a:extLst>
              <a:ext uri="{FF2B5EF4-FFF2-40B4-BE49-F238E27FC236}">
                <a16:creationId xmlns:a16="http://schemas.microsoft.com/office/drawing/2014/main" id="{71F862F9-0E8A-4DB9-8083-1C3AA6E5D777}"/>
              </a:ext>
            </a:extLst>
          </p:cNvPr>
          <p:cNvPicPr>
            <a:picLocks noGrp="1" noChangeAspect="1"/>
          </p:cNvPicPr>
          <p:nvPr>
            <p:ph type="pic" sz="quarter" idx="14"/>
          </p:nvPr>
        </p:nvPicPr>
        <p:blipFill rotWithShape="1">
          <a:blip r:embed="rId3" cstate="screen">
            <a:extLst>
              <a:ext uri="{28A0092B-C50C-407E-A947-70E740481C1C}">
                <a14:useLocalDpi xmlns:a14="http://schemas.microsoft.com/office/drawing/2010/main" val="0"/>
              </a:ext>
            </a:extLst>
          </a:blip>
          <a:srcRect/>
          <a:stretch/>
        </p:blipFill>
        <p:spPr>
          <a:xfrm>
            <a:off x="8918575" y="596392"/>
            <a:ext cx="2263776" cy="2263776"/>
          </a:xfrm>
        </p:spPr>
      </p:pic>
      <p:pic>
        <p:nvPicPr>
          <p:cNvPr id="12" name="Picture Placeholder 11" descr="Data Background">
            <a:extLst>
              <a:ext uri="{FF2B5EF4-FFF2-40B4-BE49-F238E27FC236}">
                <a16:creationId xmlns:a16="http://schemas.microsoft.com/office/drawing/2014/main" id="{A63F39B9-0715-40B5-8ECB-9B983F99C690}"/>
              </a:ext>
            </a:extLst>
          </p:cNvPr>
          <p:cNvPicPr>
            <a:picLocks noGrp="1" noChangeAspect="1"/>
          </p:cNvPicPr>
          <p:nvPr>
            <p:ph type="pic" sz="quarter" idx="15"/>
          </p:nvPr>
        </p:nvPicPr>
        <p:blipFill rotWithShape="1">
          <a:blip r:embed="rId4" cstate="screen">
            <a:extLst>
              <a:ext uri="{28A0092B-C50C-407E-A947-70E740481C1C}">
                <a14:useLocalDpi xmlns:a14="http://schemas.microsoft.com/office/drawing/2010/main" val="0"/>
              </a:ext>
            </a:extLst>
          </a:blip>
          <a:srcRect/>
          <a:stretch/>
        </p:blipFill>
        <p:spPr>
          <a:xfrm>
            <a:off x="9091612" y="3324733"/>
            <a:ext cx="2936876" cy="2936876"/>
          </a:xfrm>
        </p:spPr>
      </p:pic>
      <p:sp>
        <p:nvSpPr>
          <p:cNvPr id="15" name="Slide Number Placeholder 14">
            <a:extLst>
              <a:ext uri="{FF2B5EF4-FFF2-40B4-BE49-F238E27FC236}">
                <a16:creationId xmlns:a16="http://schemas.microsoft.com/office/drawing/2014/main" id="{3B199C97-F175-437D-8311-DB662925C063}"/>
              </a:ext>
            </a:extLst>
          </p:cNvPr>
          <p:cNvSpPr>
            <a:spLocks noGrp="1"/>
          </p:cNvSpPr>
          <p:nvPr>
            <p:ph type="sldNum" sz="quarter" idx="12"/>
          </p:nvPr>
        </p:nvSpPr>
        <p:spPr>
          <a:xfrm>
            <a:off x="9948863" y="6507212"/>
            <a:ext cx="1692274" cy="153888"/>
          </a:xfrm>
        </p:spPr>
        <p:txBody>
          <a:bodyPr/>
          <a:lstStyle/>
          <a:p>
            <a:fld id="{DBA1B0FB-D917-4C8C-928F-313BD683BF39}" type="slidenum">
              <a:rPr lang="en-US" smtClean="0"/>
              <a:pPr/>
              <a:t>2</a:t>
            </a:fld>
            <a:endParaRPr lang="en-US"/>
          </a:p>
        </p:txBody>
      </p:sp>
    </p:spTree>
    <p:extLst>
      <p:ext uri="{BB962C8B-B14F-4D97-AF65-F5344CB8AC3E}">
        <p14:creationId xmlns:p14="http://schemas.microsoft.com/office/powerpoint/2010/main" val="231323486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AD72D26-24EF-4CBD-9431-A558CB7CA906}"/>
              </a:ext>
            </a:extLst>
          </p:cNvPr>
          <p:cNvSpPr>
            <a:spLocks noGrp="1"/>
          </p:cNvSpPr>
          <p:nvPr>
            <p:ph type="title"/>
          </p:nvPr>
        </p:nvSpPr>
        <p:spPr>
          <a:xfrm>
            <a:off x="550862" y="549275"/>
            <a:ext cx="11091600" cy="1332000"/>
          </a:xfrm>
        </p:spPr>
        <p:txBody>
          <a:bodyPr/>
          <a:lstStyle/>
          <a:p>
            <a:r>
              <a:rPr lang="en-US" dirty="0"/>
              <a:t>History</a:t>
            </a:r>
          </a:p>
        </p:txBody>
      </p:sp>
      <p:graphicFrame>
        <p:nvGraphicFramePr>
          <p:cNvPr id="4" name="Content Placeholder 3" descr="Timeline Smart Art Placeholder ">
            <a:extLst>
              <a:ext uri="{FF2B5EF4-FFF2-40B4-BE49-F238E27FC236}">
                <a16:creationId xmlns:a16="http://schemas.microsoft.com/office/drawing/2014/main" id="{93897051-DA8D-4072-A594-51769F8D52F5}"/>
              </a:ext>
            </a:extLst>
          </p:cNvPr>
          <p:cNvGraphicFramePr>
            <a:graphicFrameLocks noGrp="1"/>
          </p:cNvGraphicFramePr>
          <p:nvPr>
            <p:ph idx="1"/>
            <p:extLst>
              <p:ext uri="{D42A27DB-BD31-4B8C-83A1-F6EECF244321}">
                <p14:modId xmlns:p14="http://schemas.microsoft.com/office/powerpoint/2010/main" val="1573058780"/>
              </p:ext>
            </p:extLst>
          </p:nvPr>
        </p:nvGraphicFramePr>
        <p:xfrm>
          <a:off x="550863" y="2112963"/>
          <a:ext cx="11090275" cy="397986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6" name="Slide Number Placeholder 5">
            <a:extLst>
              <a:ext uri="{FF2B5EF4-FFF2-40B4-BE49-F238E27FC236}">
                <a16:creationId xmlns:a16="http://schemas.microsoft.com/office/drawing/2014/main" id="{5E5CAC52-3FD1-464A-805A-B8F7AF04574A}"/>
              </a:ext>
            </a:extLst>
          </p:cNvPr>
          <p:cNvSpPr>
            <a:spLocks noGrp="1"/>
          </p:cNvSpPr>
          <p:nvPr>
            <p:ph type="sldNum" sz="quarter" idx="12"/>
          </p:nvPr>
        </p:nvSpPr>
        <p:spPr>
          <a:xfrm>
            <a:off x="9948863" y="6507212"/>
            <a:ext cx="1692274" cy="153888"/>
          </a:xfrm>
        </p:spPr>
        <p:txBody>
          <a:bodyPr/>
          <a:lstStyle/>
          <a:p>
            <a:fld id="{DBA1B0FB-D917-4C8C-928F-313BD683BF39}" type="slidenum">
              <a:rPr lang="en-US" smtClean="0"/>
              <a:pPr/>
              <a:t>3</a:t>
            </a:fld>
            <a:endParaRPr lang="en-US"/>
          </a:p>
        </p:txBody>
      </p:sp>
    </p:spTree>
    <p:extLst>
      <p:ext uri="{BB962C8B-B14F-4D97-AF65-F5344CB8AC3E}">
        <p14:creationId xmlns:p14="http://schemas.microsoft.com/office/powerpoint/2010/main" val="262463006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47788B34-4190-4916-9048-47720EA5ABF1}"/>
              </a:ext>
            </a:extLst>
          </p:cNvPr>
          <p:cNvSpPr>
            <a:spLocks noGrp="1"/>
          </p:cNvSpPr>
          <p:nvPr>
            <p:ph type="title"/>
          </p:nvPr>
        </p:nvSpPr>
        <p:spPr>
          <a:xfrm>
            <a:off x="522159" y="358206"/>
            <a:ext cx="11097551" cy="786939"/>
          </a:xfrm>
        </p:spPr>
        <p:txBody>
          <a:bodyPr/>
          <a:lstStyle/>
          <a:p>
            <a:r>
              <a:rPr lang="en-US" sz="4000" dirty="0"/>
              <a:t>Alabama Broadband Accessibility Fund Basics </a:t>
            </a:r>
          </a:p>
        </p:txBody>
      </p:sp>
      <p:sp>
        <p:nvSpPr>
          <p:cNvPr id="12" name="Text Placeholder 11">
            <a:extLst>
              <a:ext uri="{FF2B5EF4-FFF2-40B4-BE49-F238E27FC236}">
                <a16:creationId xmlns:a16="http://schemas.microsoft.com/office/drawing/2014/main" id="{3A63626D-0E6E-4023-ABFC-A744C9862159}"/>
              </a:ext>
            </a:extLst>
          </p:cNvPr>
          <p:cNvSpPr>
            <a:spLocks noGrp="1"/>
          </p:cNvSpPr>
          <p:nvPr>
            <p:ph type="body" sz="quarter" idx="13"/>
          </p:nvPr>
        </p:nvSpPr>
        <p:spPr>
          <a:xfrm>
            <a:off x="543587" y="1247071"/>
            <a:ext cx="3566160" cy="535354"/>
          </a:xfrm>
        </p:spPr>
        <p:txBody>
          <a:bodyPr/>
          <a:lstStyle/>
          <a:p>
            <a:r>
              <a:rPr lang="en-US" dirty="0"/>
              <a:t>Eligibility</a:t>
            </a:r>
          </a:p>
        </p:txBody>
      </p:sp>
      <p:sp>
        <p:nvSpPr>
          <p:cNvPr id="13" name="Content Placeholder 12">
            <a:extLst>
              <a:ext uri="{FF2B5EF4-FFF2-40B4-BE49-F238E27FC236}">
                <a16:creationId xmlns:a16="http://schemas.microsoft.com/office/drawing/2014/main" id="{258E9390-685C-4BAD-BFAD-EC56E81C4745}"/>
              </a:ext>
            </a:extLst>
          </p:cNvPr>
          <p:cNvSpPr>
            <a:spLocks noGrp="1"/>
          </p:cNvSpPr>
          <p:nvPr>
            <p:ph sz="quarter" idx="14"/>
          </p:nvPr>
        </p:nvSpPr>
        <p:spPr>
          <a:xfrm>
            <a:off x="522159" y="1881276"/>
            <a:ext cx="4943220" cy="4061650"/>
          </a:xfrm>
        </p:spPr>
        <p:txBody>
          <a:bodyPr>
            <a:normAutofit/>
          </a:bodyPr>
          <a:lstStyle/>
          <a:p>
            <a:pPr lvl="0"/>
            <a:r>
              <a:rPr lang="en-US" dirty="0">
                <a:solidFill>
                  <a:srgbClr val="FFFFFF"/>
                </a:solidFill>
              </a:rPr>
              <a:t>Eligible Areas - Unserved with broadband speeds greater than 100/20 in rural areas outside any incorporated city or town with a population of greater than 25,000.</a:t>
            </a:r>
          </a:p>
          <a:p>
            <a:pPr lvl="0"/>
            <a:r>
              <a:rPr lang="en-US" dirty="0">
                <a:solidFill>
                  <a:srgbClr val="FFFFFF"/>
                </a:solidFill>
              </a:rPr>
              <a:t>Eligible Entities - Entities that are cooperatives, corporations, limited liability companies, partnerships, other private business entities, or units of government, which provide broadband services.  An entity is not eligible for a grant unless the entity has submitted, within the one-year period preceding the awarding of the grant, the entity’s broadband service availability information to Alabama’s broadband mapping program.</a:t>
            </a:r>
          </a:p>
        </p:txBody>
      </p:sp>
      <p:sp>
        <p:nvSpPr>
          <p:cNvPr id="10" name="Text Placeholder 9">
            <a:extLst>
              <a:ext uri="{FF2B5EF4-FFF2-40B4-BE49-F238E27FC236}">
                <a16:creationId xmlns:a16="http://schemas.microsoft.com/office/drawing/2014/main" id="{34A9BC34-CFDB-4D7A-8D6C-1CE608D0909F}"/>
              </a:ext>
            </a:extLst>
          </p:cNvPr>
          <p:cNvSpPr>
            <a:spLocks noGrp="1"/>
          </p:cNvSpPr>
          <p:nvPr>
            <p:ph type="body" sz="quarter" idx="3"/>
          </p:nvPr>
        </p:nvSpPr>
        <p:spPr>
          <a:xfrm>
            <a:off x="6096000" y="1215275"/>
            <a:ext cx="3566160" cy="535354"/>
          </a:xfrm>
        </p:spPr>
        <p:txBody>
          <a:bodyPr/>
          <a:lstStyle/>
          <a:p>
            <a:r>
              <a:rPr lang="en-US" dirty="0"/>
              <a:t>Accountability</a:t>
            </a:r>
          </a:p>
        </p:txBody>
      </p:sp>
      <p:sp>
        <p:nvSpPr>
          <p:cNvPr id="11" name="Content Placeholder 10">
            <a:extLst>
              <a:ext uri="{FF2B5EF4-FFF2-40B4-BE49-F238E27FC236}">
                <a16:creationId xmlns:a16="http://schemas.microsoft.com/office/drawing/2014/main" id="{1D014E48-5DD9-49CE-AD5B-0FEF69204F68}"/>
              </a:ext>
            </a:extLst>
          </p:cNvPr>
          <p:cNvSpPr>
            <a:spLocks noGrp="1"/>
          </p:cNvSpPr>
          <p:nvPr>
            <p:ph sz="quarter" idx="4"/>
          </p:nvPr>
        </p:nvSpPr>
        <p:spPr>
          <a:xfrm>
            <a:off x="6229605" y="1890888"/>
            <a:ext cx="4943220" cy="4061650"/>
          </a:xfrm>
        </p:spPr>
        <p:txBody>
          <a:bodyPr>
            <a:normAutofit lnSpcReduction="10000"/>
          </a:bodyPr>
          <a:lstStyle/>
          <a:p>
            <a:pPr lvl="0"/>
            <a:r>
              <a:rPr lang="en-US" sz="1800" dirty="0">
                <a:solidFill>
                  <a:srgbClr val="FFFFFF"/>
                </a:solidFill>
                <a:effectLst/>
                <a:latin typeface="Calibri" panose="020F0502020204030204" pitchFamily="34" charset="0"/>
                <a:ea typeface="Calibri" panose="020F0502020204030204" pitchFamily="34" charset="0"/>
                <a:cs typeface="Times New Roman" panose="02020603050405020304" pitchFamily="18" charset="0"/>
              </a:rPr>
              <a:t>Progressive </a:t>
            </a:r>
            <a:r>
              <a:rPr lang="en-US" sz="1800" dirty="0">
                <a:solidFill>
                  <a:srgbClr val="FFFFFF"/>
                </a:solidFill>
                <a:latin typeface="Calibri" panose="020F0502020204030204" pitchFamily="34" charset="0"/>
                <a:ea typeface="Calibri" panose="020F0502020204030204" pitchFamily="34" charset="0"/>
                <a:cs typeface="Times New Roman" panose="02020603050405020304" pitchFamily="18" charset="0"/>
              </a:rPr>
              <a:t>C</a:t>
            </a:r>
            <a:r>
              <a:rPr lang="en-US" sz="1800" dirty="0">
                <a:solidFill>
                  <a:srgbClr val="FFFFFF"/>
                </a:solidFill>
                <a:effectLst/>
                <a:latin typeface="Calibri" panose="020F0502020204030204" pitchFamily="34" charset="0"/>
                <a:ea typeface="Calibri" panose="020F0502020204030204" pitchFamily="34" charset="0"/>
                <a:cs typeface="Times New Roman" panose="02020603050405020304" pitchFamily="18" charset="0"/>
              </a:rPr>
              <a:t>ompletion: Measured on not more than a quarterly basis, of the approved project. Grants for projects not showing progress may be rescinded.</a:t>
            </a:r>
          </a:p>
          <a:p>
            <a:r>
              <a:rPr lang="en-US" dirty="0">
                <a:solidFill>
                  <a:srgbClr val="FFFFFF"/>
                </a:solidFill>
              </a:rPr>
              <a:t>Reimbursement Program:  ADECA awards funds to the successful applicants before the project commencement; however, ADECA only disburses funds after the project is completed and verified.</a:t>
            </a:r>
          </a:p>
          <a:p>
            <a:r>
              <a:rPr lang="en-US" dirty="0">
                <a:solidFill>
                  <a:srgbClr val="FFFFFF"/>
                </a:solidFill>
              </a:rPr>
              <a:t>Time Requirement: Recipients must complete projects within two years of award. Recipients who demonstrate that the project is progressing may request an extension for up to one year for project delays beyond their control. </a:t>
            </a:r>
          </a:p>
        </p:txBody>
      </p:sp>
      <p:sp>
        <p:nvSpPr>
          <p:cNvPr id="16" name="Slide Number Placeholder 15">
            <a:extLst>
              <a:ext uri="{FF2B5EF4-FFF2-40B4-BE49-F238E27FC236}">
                <a16:creationId xmlns:a16="http://schemas.microsoft.com/office/drawing/2014/main" id="{CF0A8666-4477-461C-A79D-E91232EE973E}"/>
              </a:ext>
            </a:extLst>
          </p:cNvPr>
          <p:cNvSpPr>
            <a:spLocks noGrp="1"/>
          </p:cNvSpPr>
          <p:nvPr>
            <p:ph type="sldNum" sz="quarter" idx="12"/>
          </p:nvPr>
        </p:nvSpPr>
        <p:spPr>
          <a:xfrm>
            <a:off x="9948863" y="6507212"/>
            <a:ext cx="1692274" cy="153888"/>
          </a:xfrm>
        </p:spPr>
        <p:txBody>
          <a:bodyPr/>
          <a:lstStyle/>
          <a:p>
            <a:fld id="{DBA1B0FB-D917-4C8C-928F-313BD683BF39}" type="slidenum">
              <a:rPr lang="en-US" smtClean="0"/>
              <a:pPr/>
              <a:t>4</a:t>
            </a:fld>
            <a:endParaRPr lang="en-US"/>
          </a:p>
        </p:txBody>
      </p:sp>
    </p:spTree>
    <p:extLst>
      <p:ext uri="{BB962C8B-B14F-4D97-AF65-F5344CB8AC3E}">
        <p14:creationId xmlns:p14="http://schemas.microsoft.com/office/powerpoint/2010/main" val="142054705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B102D8-1D22-4940-AF19-07CF3A0DC5F4}"/>
              </a:ext>
            </a:extLst>
          </p:cNvPr>
          <p:cNvSpPr>
            <a:spLocks noGrp="1"/>
          </p:cNvSpPr>
          <p:nvPr>
            <p:ph type="title"/>
          </p:nvPr>
        </p:nvSpPr>
        <p:spPr>
          <a:xfrm>
            <a:off x="550862" y="549275"/>
            <a:ext cx="11091600" cy="1332000"/>
          </a:xfrm>
        </p:spPr>
        <p:txBody>
          <a:bodyPr/>
          <a:lstStyle/>
          <a:p>
            <a:r>
              <a:rPr lang="en-US" dirty="0"/>
              <a:t>Funded Projects</a:t>
            </a:r>
          </a:p>
        </p:txBody>
      </p:sp>
      <p:graphicFrame>
        <p:nvGraphicFramePr>
          <p:cNvPr id="13" name="Table 13">
            <a:extLst>
              <a:ext uri="{FF2B5EF4-FFF2-40B4-BE49-F238E27FC236}">
                <a16:creationId xmlns:a16="http://schemas.microsoft.com/office/drawing/2014/main" id="{914D6EE3-4782-45C1-A75C-003483879C97}"/>
              </a:ext>
            </a:extLst>
          </p:cNvPr>
          <p:cNvGraphicFramePr>
            <a:graphicFrameLocks noGrp="1"/>
          </p:cNvGraphicFramePr>
          <p:nvPr>
            <p:ph idx="1"/>
            <p:extLst>
              <p:ext uri="{D42A27DB-BD31-4B8C-83A1-F6EECF244321}">
                <p14:modId xmlns:p14="http://schemas.microsoft.com/office/powerpoint/2010/main" val="1128969686"/>
              </p:ext>
            </p:extLst>
          </p:nvPr>
        </p:nvGraphicFramePr>
        <p:xfrm>
          <a:off x="550863" y="2112963"/>
          <a:ext cx="9529763" cy="3600144"/>
        </p:xfrm>
        <a:graphic>
          <a:graphicData uri="http://schemas.openxmlformats.org/drawingml/2006/table">
            <a:tbl>
              <a:tblPr firstRow="1" bandRow="1">
                <a:tableStyleId>{7DF18680-E054-41AD-8BC1-D1AEF772440D}</a:tableStyleId>
              </a:tblPr>
              <a:tblGrid>
                <a:gridCol w="1215793">
                  <a:extLst>
                    <a:ext uri="{9D8B030D-6E8A-4147-A177-3AD203B41FA5}">
                      <a16:colId xmlns:a16="http://schemas.microsoft.com/office/drawing/2014/main" val="562691606"/>
                    </a:ext>
                  </a:extLst>
                </a:gridCol>
                <a:gridCol w="1669002">
                  <a:extLst>
                    <a:ext uri="{9D8B030D-6E8A-4147-A177-3AD203B41FA5}">
                      <a16:colId xmlns:a16="http://schemas.microsoft.com/office/drawing/2014/main" val="306137740"/>
                    </a:ext>
                  </a:extLst>
                </a:gridCol>
                <a:gridCol w="1757779">
                  <a:extLst>
                    <a:ext uri="{9D8B030D-6E8A-4147-A177-3AD203B41FA5}">
                      <a16:colId xmlns:a16="http://schemas.microsoft.com/office/drawing/2014/main" val="3970149589"/>
                    </a:ext>
                  </a:extLst>
                </a:gridCol>
                <a:gridCol w="1718539">
                  <a:extLst>
                    <a:ext uri="{9D8B030D-6E8A-4147-A177-3AD203B41FA5}">
                      <a16:colId xmlns:a16="http://schemas.microsoft.com/office/drawing/2014/main" val="1552287268"/>
                    </a:ext>
                  </a:extLst>
                </a:gridCol>
                <a:gridCol w="1584325">
                  <a:extLst>
                    <a:ext uri="{9D8B030D-6E8A-4147-A177-3AD203B41FA5}">
                      <a16:colId xmlns:a16="http://schemas.microsoft.com/office/drawing/2014/main" val="3637583548"/>
                    </a:ext>
                  </a:extLst>
                </a:gridCol>
                <a:gridCol w="1584325">
                  <a:extLst>
                    <a:ext uri="{9D8B030D-6E8A-4147-A177-3AD203B41FA5}">
                      <a16:colId xmlns:a16="http://schemas.microsoft.com/office/drawing/2014/main" val="1751413396"/>
                    </a:ext>
                  </a:extLst>
                </a:gridCol>
              </a:tblGrid>
              <a:tr h="493344">
                <a:tc>
                  <a:txBody>
                    <a:bodyPr/>
                    <a:lstStyle/>
                    <a:p>
                      <a:pPr algn="ctr"/>
                      <a:r>
                        <a:rPr lang="en-US" dirty="0"/>
                        <a:t>Year</a:t>
                      </a: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accent2"/>
                    </a:solidFill>
                  </a:tcPr>
                </a:tc>
                <a:tc>
                  <a:txBody>
                    <a:bodyPr/>
                    <a:lstStyle/>
                    <a:p>
                      <a:pPr algn="ctr"/>
                      <a:r>
                        <a:rPr lang="en-US" dirty="0"/>
                        <a:t>Applications Funded</a:t>
                      </a: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accent2"/>
                    </a:solidFill>
                  </a:tcPr>
                </a:tc>
                <a:tc>
                  <a:txBody>
                    <a:bodyPr/>
                    <a:lstStyle/>
                    <a:p>
                      <a:pPr algn="ctr"/>
                      <a:r>
                        <a:rPr lang="en-US" dirty="0"/>
                        <a:t>Grant Amount</a:t>
                      </a: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accent2"/>
                    </a:solidFill>
                  </a:tcPr>
                </a:tc>
                <a:tc>
                  <a:txBody>
                    <a:bodyPr/>
                    <a:lstStyle/>
                    <a:p>
                      <a:pPr algn="ctr"/>
                      <a:r>
                        <a:rPr lang="en-US" dirty="0"/>
                        <a:t>Match Amount</a:t>
                      </a: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accent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dirty="0"/>
                        <a:t>Total Passings</a:t>
                      </a: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accent2"/>
                    </a:solidFill>
                  </a:tcPr>
                </a:tc>
                <a:tc>
                  <a:txBody>
                    <a:bodyPr/>
                    <a:lstStyle/>
                    <a:p>
                      <a:pPr algn="ctr"/>
                      <a:r>
                        <a:rPr lang="en-US" dirty="0"/>
                        <a:t>Grant Cost per Passing</a:t>
                      </a: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accent2"/>
                    </a:solidFill>
                  </a:tcPr>
                </a:tc>
                <a:extLst>
                  <a:ext uri="{0D108BD9-81ED-4DB2-BD59-A6C34878D82A}">
                    <a16:rowId xmlns:a16="http://schemas.microsoft.com/office/drawing/2014/main" val="2193002138"/>
                  </a:ext>
                </a:extLst>
              </a:tr>
              <a:tr h="493344">
                <a:tc>
                  <a:txBody>
                    <a:bodyPr/>
                    <a:lstStyle/>
                    <a:p>
                      <a:pPr algn="ctr"/>
                      <a:r>
                        <a:rPr lang="en-US" dirty="0">
                          <a:solidFill>
                            <a:schemeClr val="tx1"/>
                          </a:solidFill>
                        </a:rPr>
                        <a:t>2018</a:t>
                      </a: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algn="ctr"/>
                      <a:r>
                        <a:rPr lang="en-US" dirty="0">
                          <a:solidFill>
                            <a:schemeClr val="tx1"/>
                          </a:solidFill>
                        </a:rPr>
                        <a:t>13</a:t>
                      </a: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algn="ctr"/>
                      <a:r>
                        <a:rPr lang="en-US" dirty="0">
                          <a:solidFill>
                            <a:schemeClr val="tx1"/>
                          </a:solidFill>
                        </a:rPr>
                        <a:t>$2,225,918.20</a:t>
                      </a: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algn="ctr"/>
                      <a:r>
                        <a:rPr lang="en-US" dirty="0">
                          <a:solidFill>
                            <a:schemeClr val="tx1"/>
                          </a:solidFill>
                        </a:rPr>
                        <a:t>$8,903,672.82</a:t>
                      </a: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algn="ctr"/>
                      <a:r>
                        <a:rPr lang="en-US" dirty="0">
                          <a:solidFill>
                            <a:schemeClr val="tx1"/>
                          </a:solidFill>
                        </a:rPr>
                        <a:t>2,933</a:t>
                      </a: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algn="ctr"/>
                      <a:r>
                        <a:rPr lang="en-US" dirty="0">
                          <a:solidFill>
                            <a:schemeClr val="tx1"/>
                          </a:solidFill>
                        </a:rPr>
                        <a:t>$758.92</a:t>
                      </a: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922611538"/>
                  </a:ext>
                </a:extLst>
              </a:tr>
              <a:tr h="493344">
                <a:tc>
                  <a:txBody>
                    <a:bodyPr/>
                    <a:lstStyle/>
                    <a:p>
                      <a:pPr algn="ctr"/>
                      <a:r>
                        <a:rPr lang="en-US" dirty="0">
                          <a:solidFill>
                            <a:schemeClr val="tx1"/>
                          </a:solidFill>
                        </a:rPr>
                        <a:t>2019</a:t>
                      </a: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algn="ctr"/>
                      <a:r>
                        <a:rPr lang="en-US" dirty="0">
                          <a:solidFill>
                            <a:schemeClr val="tx1"/>
                          </a:solidFill>
                        </a:rPr>
                        <a:t>2</a:t>
                      </a: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algn="ctr"/>
                      <a:r>
                        <a:rPr lang="en-US" dirty="0">
                          <a:solidFill>
                            <a:schemeClr val="tx1"/>
                          </a:solidFill>
                        </a:rPr>
                        <a:t>$137,234.68</a:t>
                      </a: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algn="ctr"/>
                      <a:r>
                        <a:rPr lang="en-US" dirty="0">
                          <a:solidFill>
                            <a:schemeClr val="tx1"/>
                          </a:solidFill>
                        </a:rPr>
                        <a:t>$548,938.72</a:t>
                      </a: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algn="ctr"/>
                      <a:r>
                        <a:rPr lang="en-US" dirty="0">
                          <a:solidFill>
                            <a:schemeClr val="tx1"/>
                          </a:solidFill>
                        </a:rPr>
                        <a:t>237</a:t>
                      </a: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algn="ctr"/>
                      <a:r>
                        <a:rPr lang="en-US" dirty="0">
                          <a:solidFill>
                            <a:schemeClr val="tx1"/>
                          </a:solidFill>
                        </a:rPr>
                        <a:t>$579.05</a:t>
                      </a: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580915798"/>
                  </a:ext>
                </a:extLst>
              </a:tr>
              <a:tr h="493344">
                <a:tc>
                  <a:txBody>
                    <a:bodyPr/>
                    <a:lstStyle/>
                    <a:p>
                      <a:pPr algn="ctr"/>
                      <a:r>
                        <a:rPr lang="en-US" dirty="0">
                          <a:solidFill>
                            <a:schemeClr val="tx1"/>
                          </a:solidFill>
                        </a:rPr>
                        <a:t>2020</a:t>
                      </a: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algn="ctr"/>
                      <a:r>
                        <a:rPr lang="en-US" dirty="0">
                          <a:solidFill>
                            <a:schemeClr val="tx1"/>
                          </a:solidFill>
                        </a:rPr>
                        <a:t>38</a:t>
                      </a: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algn="ctr"/>
                      <a:r>
                        <a:rPr lang="en-US" dirty="0">
                          <a:solidFill>
                            <a:schemeClr val="tx1"/>
                          </a:solidFill>
                        </a:rPr>
                        <a:t>$17,183,136.58</a:t>
                      </a: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algn="ctr"/>
                      <a:r>
                        <a:rPr lang="en-US" dirty="0">
                          <a:solidFill>
                            <a:schemeClr val="tx1"/>
                          </a:solidFill>
                        </a:rPr>
                        <a:t>$37,170,528.11</a:t>
                      </a: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algn="ctr"/>
                      <a:r>
                        <a:rPr lang="en-US" dirty="0">
                          <a:solidFill>
                            <a:schemeClr val="tx1"/>
                          </a:solidFill>
                        </a:rPr>
                        <a:t>21,713</a:t>
                      </a: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algn="ctr"/>
                      <a:r>
                        <a:rPr lang="en-US" dirty="0">
                          <a:solidFill>
                            <a:schemeClr val="tx1"/>
                          </a:solidFill>
                        </a:rPr>
                        <a:t>$791.38</a:t>
                      </a: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796691047"/>
                  </a:ext>
                </a:extLst>
              </a:tr>
              <a:tr h="493344">
                <a:tc>
                  <a:txBody>
                    <a:bodyPr/>
                    <a:lstStyle/>
                    <a:p>
                      <a:pPr algn="ctr"/>
                      <a:r>
                        <a:rPr lang="en-US" dirty="0">
                          <a:solidFill>
                            <a:schemeClr val="tx1"/>
                          </a:solidFill>
                        </a:rPr>
                        <a:t>2021</a:t>
                      </a: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algn="ctr"/>
                      <a:r>
                        <a:rPr lang="en-US" dirty="0">
                          <a:solidFill>
                            <a:schemeClr val="tx1"/>
                          </a:solidFill>
                        </a:rPr>
                        <a:t>38</a:t>
                      </a: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algn="ctr"/>
                      <a:r>
                        <a:rPr lang="en-US" dirty="0">
                          <a:solidFill>
                            <a:schemeClr val="tx1"/>
                          </a:solidFill>
                        </a:rPr>
                        <a:t>$17,954,128.34</a:t>
                      </a: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algn="ctr"/>
                      <a:r>
                        <a:rPr lang="en-US" dirty="0">
                          <a:solidFill>
                            <a:schemeClr val="tx1"/>
                          </a:solidFill>
                        </a:rPr>
                        <a:t>$42,009,313.52</a:t>
                      </a: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algn="ctr"/>
                      <a:r>
                        <a:rPr lang="en-US" dirty="0">
                          <a:solidFill>
                            <a:schemeClr val="tx1"/>
                          </a:solidFill>
                        </a:rPr>
                        <a:t>21,434</a:t>
                      </a: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algn="ctr"/>
                      <a:r>
                        <a:rPr lang="en-US" dirty="0">
                          <a:solidFill>
                            <a:schemeClr val="tx1"/>
                          </a:solidFill>
                        </a:rPr>
                        <a:t>$837.65</a:t>
                      </a: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721269701"/>
                  </a:ext>
                </a:extLst>
              </a:tr>
              <a:tr h="493344">
                <a:tc>
                  <a:txBody>
                    <a:bodyPr/>
                    <a:lstStyle/>
                    <a:p>
                      <a:pPr algn="ctr"/>
                      <a:r>
                        <a:rPr lang="en-US" dirty="0">
                          <a:solidFill>
                            <a:schemeClr val="tx1"/>
                          </a:solidFill>
                        </a:rPr>
                        <a:t>2022</a:t>
                      </a: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algn="ctr"/>
                      <a:r>
                        <a:rPr lang="en-US" dirty="0">
                          <a:solidFill>
                            <a:schemeClr val="tx1"/>
                          </a:solidFill>
                        </a:rPr>
                        <a:t>9</a:t>
                      </a: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algn="ctr"/>
                      <a:r>
                        <a:rPr lang="en-US" dirty="0">
                          <a:solidFill>
                            <a:schemeClr val="tx1"/>
                          </a:solidFill>
                        </a:rPr>
                        <a:t>$26,468,966.18</a:t>
                      </a: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algn="ctr"/>
                      <a:r>
                        <a:rPr lang="en-US" dirty="0">
                          <a:solidFill>
                            <a:schemeClr val="tx1"/>
                          </a:solidFill>
                        </a:rPr>
                        <a:t>$36,994,116.33</a:t>
                      </a: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algn="ctr"/>
                      <a:r>
                        <a:rPr lang="en-US" dirty="0">
                          <a:solidFill>
                            <a:schemeClr val="tx1"/>
                          </a:solidFill>
                        </a:rPr>
                        <a:t>13,589</a:t>
                      </a: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algn="ctr"/>
                      <a:r>
                        <a:rPr lang="en-US" dirty="0">
                          <a:solidFill>
                            <a:schemeClr val="tx1"/>
                          </a:solidFill>
                        </a:rPr>
                        <a:t>$1,947.82</a:t>
                      </a: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826374818"/>
                  </a:ext>
                </a:extLst>
              </a:tr>
              <a:tr h="493344">
                <a:tc>
                  <a:txBody>
                    <a:bodyPr/>
                    <a:lstStyle/>
                    <a:p>
                      <a:pPr algn="ctr"/>
                      <a:r>
                        <a:rPr lang="en-US" dirty="0">
                          <a:solidFill>
                            <a:schemeClr val="tx1"/>
                          </a:solidFill>
                        </a:rPr>
                        <a:t>Total</a:t>
                      </a: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algn="ctr"/>
                      <a:r>
                        <a:rPr lang="en-US">
                          <a:solidFill>
                            <a:schemeClr val="tx1"/>
                          </a:solidFill>
                        </a:rPr>
                        <a:t>100</a:t>
                      </a:r>
                      <a:endParaRPr lang="en-US" dirty="0">
                        <a:solidFill>
                          <a:schemeClr val="tx1"/>
                        </a:solidFill>
                      </a:endParaRP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algn="ctr"/>
                      <a:r>
                        <a:rPr lang="en-US" dirty="0">
                          <a:solidFill>
                            <a:schemeClr val="tx1"/>
                          </a:solidFill>
                        </a:rPr>
                        <a:t>$63,969,383.98</a:t>
                      </a: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algn="ctr"/>
                      <a:r>
                        <a:rPr lang="en-US" dirty="0">
                          <a:solidFill>
                            <a:schemeClr val="tx1"/>
                          </a:solidFill>
                        </a:rPr>
                        <a:t>$125,626,569.5</a:t>
                      </a: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algn="ctr"/>
                      <a:r>
                        <a:rPr lang="en-US" dirty="0">
                          <a:solidFill>
                            <a:schemeClr val="tx1"/>
                          </a:solidFill>
                        </a:rPr>
                        <a:t>59,906</a:t>
                      </a: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algn="ctr"/>
                      <a:r>
                        <a:rPr lang="en-US" dirty="0">
                          <a:solidFill>
                            <a:schemeClr val="tx1"/>
                          </a:solidFill>
                        </a:rPr>
                        <a:t>$1,067.83</a:t>
                      </a: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273825794"/>
                  </a:ext>
                </a:extLst>
              </a:tr>
            </a:tbl>
          </a:graphicData>
        </a:graphic>
      </p:graphicFrame>
      <p:sp>
        <p:nvSpPr>
          <p:cNvPr id="16" name="Slide Number Placeholder 15">
            <a:extLst>
              <a:ext uri="{FF2B5EF4-FFF2-40B4-BE49-F238E27FC236}">
                <a16:creationId xmlns:a16="http://schemas.microsoft.com/office/drawing/2014/main" id="{3F8A62C8-5437-4C47-AC0F-0605F84CBA57}"/>
              </a:ext>
            </a:extLst>
          </p:cNvPr>
          <p:cNvSpPr>
            <a:spLocks noGrp="1"/>
          </p:cNvSpPr>
          <p:nvPr>
            <p:ph type="sldNum" sz="quarter" idx="12"/>
          </p:nvPr>
        </p:nvSpPr>
        <p:spPr>
          <a:xfrm>
            <a:off x="9948863" y="6507212"/>
            <a:ext cx="1692274" cy="153888"/>
          </a:xfrm>
        </p:spPr>
        <p:txBody>
          <a:bodyPr/>
          <a:lstStyle/>
          <a:p>
            <a:fld id="{DBA1B0FB-D917-4C8C-928F-313BD683BF39}" type="slidenum">
              <a:rPr lang="en-US" smtClean="0"/>
              <a:pPr/>
              <a:t>5</a:t>
            </a:fld>
            <a:endParaRPr lang="en-US"/>
          </a:p>
        </p:txBody>
      </p:sp>
    </p:spTree>
    <p:extLst>
      <p:ext uri="{BB962C8B-B14F-4D97-AF65-F5344CB8AC3E}">
        <p14:creationId xmlns:p14="http://schemas.microsoft.com/office/powerpoint/2010/main" val="249694779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D10F3D66-0109-4903-90B9-66D0E288F721}"/>
              </a:ext>
              <a:ext uri="{C183D7F6-B498-43B3-948B-1728B52AA6E4}">
                <adec:decorative xmlns:adec="http://schemas.microsoft.com/office/drawing/2017/decorative" val="1"/>
              </a:ext>
            </a:extLst>
          </p:cNvPr>
          <p:cNvGrpSpPr/>
          <p:nvPr/>
        </p:nvGrpSpPr>
        <p:grpSpPr>
          <a:xfrm>
            <a:off x="10379261" y="2030035"/>
            <a:ext cx="1335600" cy="1262947"/>
            <a:chOff x="10145015" y="2343978"/>
            <a:chExt cx="1335600" cy="1262947"/>
          </a:xfrm>
        </p:grpSpPr>
        <p:sp>
          <p:nvSpPr>
            <p:cNvPr id="26" name="Freeform: Shape 25">
              <a:extLst>
                <a:ext uri="{FF2B5EF4-FFF2-40B4-BE49-F238E27FC236}">
                  <a16:creationId xmlns:a16="http://schemas.microsoft.com/office/drawing/2014/main" id="{57DAB968-9B52-4EFF-AD39-7657DFEA6E48}"/>
                </a:ext>
              </a:extLst>
            </p:cNvPr>
            <p:cNvSpPr>
              <a:spLocks noChangeAspect="1"/>
            </p:cNvSpPr>
            <p:nvPr/>
          </p:nvSpPr>
          <p:spPr>
            <a:xfrm rot="8100000">
              <a:off x="10400615" y="2343978"/>
              <a:ext cx="1080000" cy="1262947"/>
            </a:xfrm>
            <a:custGeom>
              <a:avLst/>
              <a:gdLst>
                <a:gd name="connsiteX0" fmla="*/ 540000 w 1080000"/>
                <a:gd name="connsiteY0" fmla="*/ 0 h 1262947"/>
                <a:gd name="connsiteX1" fmla="*/ 1080000 w 1080000"/>
                <a:gd name="connsiteY1" fmla="*/ 931034 h 1262947"/>
                <a:gd name="connsiteX2" fmla="*/ 1064374 w 1080000"/>
                <a:gd name="connsiteY2" fmla="*/ 931034 h 1262947"/>
                <a:gd name="connsiteX3" fmla="*/ 1069029 w 1080000"/>
                <a:gd name="connsiteY3" fmla="*/ 938533 h 1262947"/>
                <a:gd name="connsiteX4" fmla="*/ 1080000 w 1080000"/>
                <a:gd name="connsiteY4" fmla="*/ 992947 h 1262947"/>
                <a:gd name="connsiteX5" fmla="*/ 540000 w 1080000"/>
                <a:gd name="connsiteY5" fmla="*/ 1262947 h 1262947"/>
                <a:gd name="connsiteX6" fmla="*/ 0 w 1080000"/>
                <a:gd name="connsiteY6" fmla="*/ 992947 h 1262947"/>
                <a:gd name="connsiteX7" fmla="*/ 10971 w 1080000"/>
                <a:gd name="connsiteY7" fmla="*/ 938533 h 1262947"/>
                <a:gd name="connsiteX8" fmla="*/ 15626 w 1080000"/>
                <a:gd name="connsiteY8" fmla="*/ 931034 h 1262947"/>
                <a:gd name="connsiteX9" fmla="*/ 0 w 1080000"/>
                <a:gd name="connsiteY9" fmla="*/ 931034 h 1262947"/>
                <a:gd name="connsiteX0" fmla="*/ 540000 w 1080000"/>
                <a:gd name="connsiteY0" fmla="*/ 0 h 1262947"/>
                <a:gd name="connsiteX1" fmla="*/ 1080000 w 1080000"/>
                <a:gd name="connsiteY1" fmla="*/ 931034 h 1262947"/>
                <a:gd name="connsiteX2" fmla="*/ 1064374 w 1080000"/>
                <a:gd name="connsiteY2" fmla="*/ 931034 h 1262947"/>
                <a:gd name="connsiteX3" fmla="*/ 1069029 w 1080000"/>
                <a:gd name="connsiteY3" fmla="*/ 938533 h 1262947"/>
                <a:gd name="connsiteX4" fmla="*/ 1080000 w 1080000"/>
                <a:gd name="connsiteY4" fmla="*/ 992947 h 1262947"/>
                <a:gd name="connsiteX5" fmla="*/ 540000 w 1080000"/>
                <a:gd name="connsiteY5" fmla="*/ 1262947 h 1262947"/>
                <a:gd name="connsiteX6" fmla="*/ 0 w 1080000"/>
                <a:gd name="connsiteY6" fmla="*/ 992947 h 1262947"/>
                <a:gd name="connsiteX7" fmla="*/ 10971 w 1080000"/>
                <a:gd name="connsiteY7" fmla="*/ 938533 h 1262947"/>
                <a:gd name="connsiteX8" fmla="*/ 15626 w 1080000"/>
                <a:gd name="connsiteY8" fmla="*/ 931034 h 1262947"/>
                <a:gd name="connsiteX9" fmla="*/ 540000 w 1080000"/>
                <a:gd name="connsiteY9" fmla="*/ 0 h 1262947"/>
                <a:gd name="connsiteX0" fmla="*/ 540000 w 1080000"/>
                <a:gd name="connsiteY0" fmla="*/ 0 h 1262947"/>
                <a:gd name="connsiteX1" fmla="*/ 1064374 w 1080000"/>
                <a:gd name="connsiteY1" fmla="*/ 931034 h 1262947"/>
                <a:gd name="connsiteX2" fmla="*/ 1069029 w 1080000"/>
                <a:gd name="connsiteY2" fmla="*/ 938533 h 1262947"/>
                <a:gd name="connsiteX3" fmla="*/ 1080000 w 1080000"/>
                <a:gd name="connsiteY3" fmla="*/ 992947 h 1262947"/>
                <a:gd name="connsiteX4" fmla="*/ 540000 w 1080000"/>
                <a:gd name="connsiteY4" fmla="*/ 1262947 h 1262947"/>
                <a:gd name="connsiteX5" fmla="*/ 0 w 1080000"/>
                <a:gd name="connsiteY5" fmla="*/ 992947 h 1262947"/>
                <a:gd name="connsiteX6" fmla="*/ 10971 w 1080000"/>
                <a:gd name="connsiteY6" fmla="*/ 938533 h 1262947"/>
                <a:gd name="connsiteX7" fmla="*/ 15626 w 1080000"/>
                <a:gd name="connsiteY7" fmla="*/ 931034 h 1262947"/>
                <a:gd name="connsiteX8" fmla="*/ 540000 w 1080000"/>
                <a:gd name="connsiteY8" fmla="*/ 0 h 12629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80000" h="1262947">
                  <a:moveTo>
                    <a:pt x="540000" y="0"/>
                  </a:moveTo>
                  <a:lnTo>
                    <a:pt x="1064374" y="931034"/>
                  </a:lnTo>
                  <a:lnTo>
                    <a:pt x="1069029" y="938533"/>
                  </a:lnTo>
                  <a:cubicBezTo>
                    <a:pt x="1076223" y="956109"/>
                    <a:pt x="1080000" y="974307"/>
                    <a:pt x="1080000" y="992947"/>
                  </a:cubicBezTo>
                  <a:cubicBezTo>
                    <a:pt x="1080000" y="1142064"/>
                    <a:pt x="838234" y="1262947"/>
                    <a:pt x="540000" y="1262947"/>
                  </a:cubicBezTo>
                  <a:cubicBezTo>
                    <a:pt x="241766" y="1262947"/>
                    <a:pt x="0" y="1142064"/>
                    <a:pt x="0" y="992947"/>
                  </a:cubicBezTo>
                  <a:cubicBezTo>
                    <a:pt x="0" y="974307"/>
                    <a:pt x="3778" y="956109"/>
                    <a:pt x="10971" y="938533"/>
                  </a:cubicBezTo>
                  <a:lnTo>
                    <a:pt x="15626" y="931034"/>
                  </a:lnTo>
                  <a:lnTo>
                    <a:pt x="540000" y="0"/>
                  </a:lnTo>
                  <a:close/>
                </a:path>
              </a:pathLst>
            </a:custGeom>
            <a:gradFill>
              <a:gsLst>
                <a:gs pos="60000">
                  <a:schemeClr val="bg2">
                    <a:lumMod val="90000"/>
                    <a:lumOff val="10000"/>
                  </a:schemeClr>
                </a:gs>
                <a:gs pos="30000">
                  <a:schemeClr val="bg2">
                    <a:lumMod val="90000"/>
                    <a:lumOff val="10000"/>
                  </a:schemeClr>
                </a:gs>
                <a:gs pos="40000">
                  <a:schemeClr val="bg2">
                    <a:lumMod val="80000"/>
                    <a:lumOff val="20000"/>
                  </a:schemeClr>
                </a:gs>
                <a:gs pos="100000">
                  <a:schemeClr val="bg2"/>
                </a:gs>
              </a:gsLst>
              <a:lin ang="600000" scaled="0"/>
            </a:gradFill>
            <a:ln>
              <a:noFill/>
            </a:ln>
            <a:effectLst>
              <a:innerShdw blurRad="254000" dist="101600" dir="7320000">
                <a:schemeClr val="accent1">
                  <a:lumMod val="60000"/>
                  <a:lumOff val="40000"/>
                  <a:alpha val="40000"/>
                </a:scheme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27" name="Oval 26">
              <a:extLst>
                <a:ext uri="{FF2B5EF4-FFF2-40B4-BE49-F238E27FC236}">
                  <a16:creationId xmlns:a16="http://schemas.microsoft.com/office/drawing/2014/main" id="{962BE440-9634-4380-B142-5DB692420C52}"/>
                </a:ext>
              </a:extLst>
            </p:cNvPr>
            <p:cNvSpPr/>
            <p:nvPr/>
          </p:nvSpPr>
          <p:spPr>
            <a:xfrm rot="13500000">
              <a:off x="10415015" y="2179851"/>
              <a:ext cx="540000" cy="1080000"/>
            </a:xfrm>
            <a:prstGeom prst="ellipse">
              <a:avLst/>
            </a:prstGeom>
            <a:gradFill>
              <a:gsLst>
                <a:gs pos="100000">
                  <a:schemeClr val="accent1">
                    <a:lumMod val="60000"/>
                    <a:lumOff val="40000"/>
                    <a:alpha val="0"/>
                  </a:schemeClr>
                </a:gs>
                <a:gs pos="0">
                  <a:schemeClr val="bg2">
                    <a:lumMod val="75000"/>
                    <a:lumOff val="25000"/>
                    <a:alpha val="33000"/>
                  </a:schemeClr>
                </a:gs>
              </a:gsLst>
              <a:lin ang="5400000" scaled="0"/>
            </a:gradFill>
            <a:ln>
              <a:noFill/>
            </a:ln>
            <a:effectLst>
              <a:innerShdw blurRad="1270000" dist="2540000">
                <a:schemeClr val="accent1">
                  <a:lumMod val="60000"/>
                  <a:lumOff val="40000"/>
                  <a:alpha val="0"/>
                </a:scheme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grpSp>
      <p:sp>
        <p:nvSpPr>
          <p:cNvPr id="7" name="Title 6">
            <a:extLst>
              <a:ext uri="{FF2B5EF4-FFF2-40B4-BE49-F238E27FC236}">
                <a16:creationId xmlns:a16="http://schemas.microsoft.com/office/drawing/2014/main" id="{4B18D636-CC10-4B1E-AA38-419DCCF2D9C9}"/>
              </a:ext>
            </a:extLst>
          </p:cNvPr>
          <p:cNvSpPr>
            <a:spLocks noGrp="1"/>
          </p:cNvSpPr>
          <p:nvPr>
            <p:ph type="title"/>
          </p:nvPr>
        </p:nvSpPr>
        <p:spPr>
          <a:xfrm>
            <a:off x="550862" y="549275"/>
            <a:ext cx="11097551" cy="1145514"/>
          </a:xfrm>
        </p:spPr>
        <p:txBody>
          <a:bodyPr>
            <a:normAutofit/>
          </a:bodyPr>
          <a:lstStyle/>
          <a:p>
            <a:r>
              <a:rPr lang="en-US" sz="4000" dirty="0"/>
              <a:t>Funded Projects (continued)</a:t>
            </a:r>
          </a:p>
        </p:txBody>
      </p:sp>
      <p:sp>
        <p:nvSpPr>
          <p:cNvPr id="10" name="Content Placeholder 9">
            <a:extLst>
              <a:ext uri="{FF2B5EF4-FFF2-40B4-BE49-F238E27FC236}">
                <a16:creationId xmlns:a16="http://schemas.microsoft.com/office/drawing/2014/main" id="{1DB251F7-EBE7-46AC-A920-FFE2C5AF68EA}"/>
              </a:ext>
            </a:extLst>
          </p:cNvPr>
          <p:cNvSpPr>
            <a:spLocks noGrp="1"/>
          </p:cNvSpPr>
          <p:nvPr>
            <p:ph sz="half" idx="2"/>
          </p:nvPr>
        </p:nvSpPr>
        <p:spPr>
          <a:xfrm>
            <a:off x="550862" y="1833152"/>
            <a:ext cx="11097550" cy="4109774"/>
          </a:xfrm>
        </p:spPr>
        <p:txBody>
          <a:bodyPr/>
          <a:lstStyle/>
          <a:p>
            <a:r>
              <a:rPr lang="en-US" sz="2200" dirty="0">
                <a:solidFill>
                  <a:srgbClr val="FFFFFF"/>
                </a:solidFill>
              </a:rPr>
              <a:t>In order to promote the deployment of grant funds in an inclusive manner that is consistent with the racial, gender, geographic, urban, rural, and economic diversity of the state, ADECA gave additional scoring consideration (10 points) to applicants that provided documentation of certification by the Office of Minority Business Enterprise or otherwise as a Disadvantaged Business Enterprise. </a:t>
            </a:r>
            <a:r>
              <a:rPr lang="en-US" sz="2200" b="1" dirty="0">
                <a:solidFill>
                  <a:srgbClr val="FFFFFF"/>
                </a:solidFill>
              </a:rPr>
              <a:t>To date, five projects have been awarded points in this category</a:t>
            </a:r>
            <a:r>
              <a:rPr lang="en-US" sz="2200" dirty="0">
                <a:solidFill>
                  <a:srgbClr val="FFFFFF"/>
                </a:solidFill>
              </a:rPr>
              <a:t>. </a:t>
            </a:r>
          </a:p>
          <a:p>
            <a:r>
              <a:rPr lang="en-US" sz="2200" dirty="0">
                <a:solidFill>
                  <a:srgbClr val="FFFFFF"/>
                </a:solidFill>
              </a:rPr>
              <a:t> Additionally, to encourage grant applicants to use vendors and subcontractors that have been certified by the Office of Minority Business Enterprise or that are Disadvantaged Business Enterprises, ADECA provided additional scoring consideration (10 points) for applicants identifying such businesses as part of the project. </a:t>
            </a:r>
            <a:r>
              <a:rPr lang="en-US" sz="2200" b="1" dirty="0">
                <a:solidFill>
                  <a:srgbClr val="FFFFFF"/>
                </a:solidFill>
              </a:rPr>
              <a:t>To date, two projects have been awarded points in this category</a:t>
            </a:r>
          </a:p>
        </p:txBody>
      </p:sp>
      <p:sp>
        <p:nvSpPr>
          <p:cNvPr id="6" name="Slide Number Placeholder 5">
            <a:extLst>
              <a:ext uri="{FF2B5EF4-FFF2-40B4-BE49-F238E27FC236}">
                <a16:creationId xmlns:a16="http://schemas.microsoft.com/office/drawing/2014/main" id="{9ED907F8-C614-4D59-A03F-BF9CD5E35703}"/>
              </a:ext>
            </a:extLst>
          </p:cNvPr>
          <p:cNvSpPr>
            <a:spLocks noGrp="1"/>
          </p:cNvSpPr>
          <p:nvPr>
            <p:ph type="sldNum" sz="quarter" idx="12"/>
          </p:nvPr>
        </p:nvSpPr>
        <p:spPr>
          <a:xfrm>
            <a:off x="9948863" y="6507212"/>
            <a:ext cx="1692274" cy="153888"/>
          </a:xfrm>
        </p:spPr>
        <p:txBody>
          <a:bodyPr/>
          <a:lstStyle/>
          <a:p>
            <a:fld id="{DBA1B0FB-D917-4C8C-928F-313BD683BF39}" type="slidenum">
              <a:rPr lang="en-US" smtClean="0"/>
              <a:pPr/>
              <a:t>6</a:t>
            </a:fld>
            <a:endParaRPr lang="en-US"/>
          </a:p>
        </p:txBody>
      </p:sp>
      <p:sp>
        <p:nvSpPr>
          <p:cNvPr id="22" name="Freeform: Shape 21">
            <a:extLst>
              <a:ext uri="{FF2B5EF4-FFF2-40B4-BE49-F238E27FC236}">
                <a16:creationId xmlns:a16="http://schemas.microsoft.com/office/drawing/2014/main" id="{C6F3814E-455F-456B-B1AF-7B993965A2C0}"/>
              </a:ext>
              <a:ext uri="{C183D7F6-B498-43B3-948B-1728B52AA6E4}">
                <adec:decorative xmlns:adec="http://schemas.microsoft.com/office/drawing/2017/decorative" val="1"/>
              </a:ext>
            </a:extLst>
          </p:cNvPr>
          <p:cNvSpPr>
            <a:spLocks noChangeAspect="1"/>
          </p:cNvSpPr>
          <p:nvPr/>
        </p:nvSpPr>
        <p:spPr>
          <a:xfrm>
            <a:off x="4295775" y="0"/>
            <a:ext cx="360000" cy="274638"/>
          </a:xfrm>
          <a:custGeom>
            <a:avLst/>
            <a:gdLst>
              <a:gd name="connsiteX0" fmla="*/ 30714 w 360000"/>
              <a:gd name="connsiteY0" fmla="*/ 0 h 274638"/>
              <a:gd name="connsiteX1" fmla="*/ 329286 w 360000"/>
              <a:gd name="connsiteY1" fmla="*/ 0 h 274638"/>
              <a:gd name="connsiteX2" fmla="*/ 345855 w 360000"/>
              <a:gd name="connsiteY2" fmla="*/ 24574 h 274638"/>
              <a:gd name="connsiteX3" fmla="*/ 360000 w 360000"/>
              <a:gd name="connsiteY3" fmla="*/ 94638 h 274638"/>
              <a:gd name="connsiteX4" fmla="*/ 180000 w 360000"/>
              <a:gd name="connsiteY4" fmla="*/ 274638 h 274638"/>
              <a:gd name="connsiteX5" fmla="*/ 0 w 360000"/>
              <a:gd name="connsiteY5" fmla="*/ 94638 h 274638"/>
              <a:gd name="connsiteX6" fmla="*/ 14145 w 360000"/>
              <a:gd name="connsiteY6" fmla="*/ 24574 h 2746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60000" h="274638">
                <a:moveTo>
                  <a:pt x="30714" y="0"/>
                </a:moveTo>
                <a:lnTo>
                  <a:pt x="329286" y="0"/>
                </a:lnTo>
                <a:lnTo>
                  <a:pt x="345855" y="24574"/>
                </a:lnTo>
                <a:cubicBezTo>
                  <a:pt x="354963" y="46109"/>
                  <a:pt x="360000" y="69785"/>
                  <a:pt x="360000" y="94638"/>
                </a:cubicBezTo>
                <a:cubicBezTo>
                  <a:pt x="360000" y="194049"/>
                  <a:pt x="279411" y="274638"/>
                  <a:pt x="180000" y="274638"/>
                </a:cubicBezTo>
                <a:cubicBezTo>
                  <a:pt x="80589" y="274638"/>
                  <a:pt x="0" y="194049"/>
                  <a:pt x="0" y="94638"/>
                </a:cubicBezTo>
                <a:cubicBezTo>
                  <a:pt x="0" y="69785"/>
                  <a:pt x="5037" y="46109"/>
                  <a:pt x="14145" y="24574"/>
                </a:cubicBezTo>
                <a:close/>
              </a:path>
            </a:pathLst>
          </a:custGeom>
          <a:gradFill flip="none" rotWithShape="1">
            <a:gsLst>
              <a:gs pos="100000">
                <a:schemeClr val="bg2">
                  <a:lumMod val="50000"/>
                  <a:lumOff val="50000"/>
                </a:schemeClr>
              </a:gs>
              <a:gs pos="60000">
                <a:schemeClr val="bg2"/>
              </a:gs>
            </a:gsLst>
            <a:path path="circle">
              <a:fillToRect l="100000" b="100000"/>
            </a:path>
            <a:tileRect t="-100000" r="-100000"/>
          </a:gradFill>
          <a:ln>
            <a:noFill/>
          </a:ln>
          <a:effectLst>
            <a:innerShdw blurRad="127000" dist="63500" dir="2700000">
              <a:schemeClr val="accent1">
                <a:lumMod val="60000"/>
                <a:lumOff val="40000"/>
                <a:alpha val="20000"/>
              </a:schemeClr>
            </a:innerShdw>
            <a:softEdge rad="0"/>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Tree>
    <p:extLst>
      <p:ext uri="{BB962C8B-B14F-4D97-AF65-F5344CB8AC3E}">
        <p14:creationId xmlns:p14="http://schemas.microsoft.com/office/powerpoint/2010/main" val="389134558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B102D8-1D22-4940-AF19-07CF3A0DC5F4}"/>
              </a:ext>
            </a:extLst>
          </p:cNvPr>
          <p:cNvSpPr>
            <a:spLocks noGrp="1"/>
          </p:cNvSpPr>
          <p:nvPr>
            <p:ph type="title"/>
          </p:nvPr>
        </p:nvSpPr>
        <p:spPr/>
        <p:txBody>
          <a:bodyPr/>
          <a:lstStyle/>
          <a:p>
            <a:r>
              <a:rPr lang="en-US" dirty="0"/>
              <a:t>Funded Projects (continued)</a:t>
            </a:r>
          </a:p>
        </p:txBody>
      </p:sp>
      <p:graphicFrame>
        <p:nvGraphicFramePr>
          <p:cNvPr id="9" name="Table 9">
            <a:extLst>
              <a:ext uri="{FF2B5EF4-FFF2-40B4-BE49-F238E27FC236}">
                <a16:creationId xmlns:a16="http://schemas.microsoft.com/office/drawing/2014/main" id="{8446BA2D-41A7-467F-BB47-B9081705BF63}"/>
              </a:ext>
            </a:extLst>
          </p:cNvPr>
          <p:cNvGraphicFramePr>
            <a:graphicFrameLocks noGrp="1"/>
          </p:cNvGraphicFramePr>
          <p:nvPr>
            <p:ph idx="1"/>
            <p:extLst>
              <p:ext uri="{D42A27DB-BD31-4B8C-83A1-F6EECF244321}">
                <p14:modId xmlns:p14="http://schemas.microsoft.com/office/powerpoint/2010/main" val="3973273418"/>
              </p:ext>
            </p:extLst>
          </p:nvPr>
        </p:nvGraphicFramePr>
        <p:xfrm>
          <a:off x="550863" y="2112963"/>
          <a:ext cx="11090276" cy="1483360"/>
        </p:xfrm>
        <a:graphic>
          <a:graphicData uri="http://schemas.openxmlformats.org/drawingml/2006/table">
            <a:tbl>
              <a:tblPr firstRow="1" bandRow="1">
                <a:tableStyleId>{72833802-FEF1-4C79-8D5D-14CF1EAF98D9}</a:tableStyleId>
              </a:tblPr>
              <a:tblGrid>
                <a:gridCol w="2772569">
                  <a:extLst>
                    <a:ext uri="{9D8B030D-6E8A-4147-A177-3AD203B41FA5}">
                      <a16:colId xmlns:a16="http://schemas.microsoft.com/office/drawing/2014/main" val="3513487844"/>
                    </a:ext>
                  </a:extLst>
                </a:gridCol>
                <a:gridCol w="2772569">
                  <a:extLst>
                    <a:ext uri="{9D8B030D-6E8A-4147-A177-3AD203B41FA5}">
                      <a16:colId xmlns:a16="http://schemas.microsoft.com/office/drawing/2014/main" val="2756800812"/>
                    </a:ext>
                  </a:extLst>
                </a:gridCol>
                <a:gridCol w="2772569">
                  <a:extLst>
                    <a:ext uri="{9D8B030D-6E8A-4147-A177-3AD203B41FA5}">
                      <a16:colId xmlns:a16="http://schemas.microsoft.com/office/drawing/2014/main" val="850677057"/>
                    </a:ext>
                  </a:extLst>
                </a:gridCol>
                <a:gridCol w="2772569">
                  <a:extLst>
                    <a:ext uri="{9D8B030D-6E8A-4147-A177-3AD203B41FA5}">
                      <a16:colId xmlns:a16="http://schemas.microsoft.com/office/drawing/2014/main" val="2230628527"/>
                    </a:ext>
                  </a:extLst>
                </a:gridCol>
              </a:tblGrid>
              <a:tr h="370840">
                <a:tc>
                  <a:txBody>
                    <a:bodyPr/>
                    <a:lstStyle/>
                    <a:p>
                      <a:r>
                        <a:rPr lang="en-US" dirty="0"/>
                        <a:t>48 Completed Project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dirty="0"/>
                        <a:t>Projected</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dirty="0"/>
                        <a:t>Actual</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dirty="0"/>
                        <a:t>Percent Chang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74990908"/>
                  </a:ext>
                </a:extLst>
              </a:tr>
              <a:tr h="370840">
                <a:tc>
                  <a:txBody>
                    <a:bodyPr/>
                    <a:lstStyle/>
                    <a:p>
                      <a:r>
                        <a:rPr lang="en-US" dirty="0"/>
                        <a:t>Grant  Cost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dirty="0"/>
                        <a:t>$15,637,051.18</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dirty="0"/>
                        <a:t>$13,839,562.54</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dirty="0"/>
                        <a:t>-11.50%</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804663220"/>
                  </a:ext>
                </a:extLst>
              </a:tr>
              <a:tr h="370840">
                <a:tc>
                  <a:txBody>
                    <a:bodyPr/>
                    <a:lstStyle/>
                    <a:p>
                      <a:r>
                        <a:rPr lang="en-US" dirty="0"/>
                        <a:t>New Service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dirty="0"/>
                        <a:t>20,710</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dirty="0"/>
                        <a:t>22,433</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dirty="0"/>
                        <a:t>8.32%</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553701550"/>
                  </a:ext>
                </a:extLst>
              </a:tr>
              <a:tr h="370840">
                <a:tc>
                  <a:txBody>
                    <a:bodyPr/>
                    <a:lstStyle/>
                    <a:p>
                      <a:r>
                        <a:rPr lang="en-US" dirty="0"/>
                        <a:t>Grant Cost/Servic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dirty="0"/>
                        <a:t>$755.05</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dirty="0"/>
                        <a:t>$619.93</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dirty="0"/>
                        <a:t>-18.29%</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645554599"/>
                  </a:ext>
                </a:extLst>
              </a:tr>
            </a:tbl>
          </a:graphicData>
        </a:graphic>
      </p:graphicFrame>
      <p:sp>
        <p:nvSpPr>
          <p:cNvPr id="16" name="Slide Number Placeholder 15">
            <a:extLst>
              <a:ext uri="{FF2B5EF4-FFF2-40B4-BE49-F238E27FC236}">
                <a16:creationId xmlns:a16="http://schemas.microsoft.com/office/drawing/2014/main" id="{3F8A62C8-5437-4C47-AC0F-0605F84CBA57}"/>
              </a:ext>
            </a:extLst>
          </p:cNvPr>
          <p:cNvSpPr>
            <a:spLocks noGrp="1"/>
          </p:cNvSpPr>
          <p:nvPr>
            <p:ph type="sldNum" sz="quarter" idx="12"/>
          </p:nvPr>
        </p:nvSpPr>
        <p:spPr/>
        <p:txBody>
          <a:bodyPr/>
          <a:lstStyle/>
          <a:p>
            <a:fld id="{DBA1B0FB-D917-4C8C-928F-313BD683BF39}" type="slidenum">
              <a:rPr lang="en-US" smtClean="0"/>
              <a:pPr/>
              <a:t>7</a:t>
            </a:fld>
            <a:endParaRPr lang="en-US"/>
          </a:p>
        </p:txBody>
      </p:sp>
    </p:spTree>
    <p:extLst>
      <p:ext uri="{BB962C8B-B14F-4D97-AF65-F5344CB8AC3E}">
        <p14:creationId xmlns:p14="http://schemas.microsoft.com/office/powerpoint/2010/main" val="14100750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ED2A30C0-1BC4-4764-9C0F-5D811CAB8312}"/>
              </a:ext>
            </a:extLst>
          </p:cNvPr>
          <p:cNvSpPr>
            <a:spLocks noGrp="1"/>
          </p:cNvSpPr>
          <p:nvPr>
            <p:ph type="ctrTitle"/>
          </p:nvPr>
        </p:nvSpPr>
        <p:spPr>
          <a:xfrm>
            <a:off x="548640" y="548640"/>
            <a:ext cx="8281987" cy="1253041"/>
          </a:xfrm>
        </p:spPr>
        <p:txBody>
          <a:bodyPr/>
          <a:lstStyle/>
          <a:p>
            <a:r>
              <a:rPr lang="en-US" dirty="0"/>
              <a:t>Current Applications </a:t>
            </a:r>
          </a:p>
        </p:txBody>
      </p:sp>
      <p:pic>
        <p:nvPicPr>
          <p:cNvPr id="17" name="Picture Placeholder 16" descr="Mailbox with solid fill">
            <a:extLst>
              <a:ext uri="{FF2B5EF4-FFF2-40B4-BE49-F238E27FC236}">
                <a16:creationId xmlns:a16="http://schemas.microsoft.com/office/drawing/2014/main" id="{05ED5B1E-974F-476C-A3C9-572D3602E95E}"/>
              </a:ext>
            </a:extLst>
          </p:cNvPr>
          <p:cNvPicPr>
            <a:picLocks noGrp="1" noChangeAspect="1"/>
          </p:cNvPicPr>
          <p:nvPr>
            <p:ph type="pic" sz="quarter" idx="13"/>
          </p:nvPr>
        </p:nvPicPr>
        <p:blipFill>
          <a:blip r:embed="rId3">
            <a:extLst>
              <a:ext uri="{96DAC541-7B7A-43D3-8B79-37D633B846F1}">
                <asvg:svgBlip xmlns:asvg="http://schemas.microsoft.com/office/drawing/2016/SVG/main" r:embed="rId4"/>
              </a:ext>
            </a:extLst>
          </a:blip>
          <a:srcRect/>
          <a:stretch/>
        </p:blipFill>
        <p:spPr>
          <a:xfrm>
            <a:off x="870012" y="1653728"/>
            <a:ext cx="1772604" cy="1772604"/>
          </a:xfrm>
        </p:spPr>
      </p:pic>
      <p:pic>
        <p:nvPicPr>
          <p:cNvPr id="36" name="Picture Placeholder 35" descr="Building with solid fill">
            <a:extLst>
              <a:ext uri="{FF2B5EF4-FFF2-40B4-BE49-F238E27FC236}">
                <a16:creationId xmlns:a16="http://schemas.microsoft.com/office/drawing/2014/main" id="{F3CCCCDF-EA66-4F5E-98F3-A05239CBBAC4}"/>
              </a:ext>
            </a:extLst>
          </p:cNvPr>
          <p:cNvPicPr>
            <a:picLocks noGrp="1" noChangeAspect="1"/>
          </p:cNvPicPr>
          <p:nvPr>
            <p:ph type="pic" sz="quarter" idx="14"/>
          </p:nvPr>
        </p:nvPicPr>
        <p:blipFill>
          <a:blip r:embed="rId5">
            <a:extLst>
              <a:ext uri="{96DAC541-7B7A-43D3-8B79-37D633B846F1}">
                <asvg:svgBlip xmlns:asvg="http://schemas.microsoft.com/office/drawing/2016/SVG/main" r:embed="rId6"/>
              </a:ext>
            </a:extLst>
          </a:blip>
          <a:srcRect/>
          <a:stretch/>
        </p:blipFill>
        <p:spPr>
          <a:xfrm>
            <a:off x="8265697" y="1682632"/>
            <a:ext cx="1772604" cy="1772604"/>
          </a:xfrm>
        </p:spPr>
      </p:pic>
      <p:pic>
        <p:nvPicPr>
          <p:cNvPr id="38" name="Picture Placeholder 37" descr="Document with solid fill">
            <a:extLst>
              <a:ext uri="{FF2B5EF4-FFF2-40B4-BE49-F238E27FC236}">
                <a16:creationId xmlns:a16="http://schemas.microsoft.com/office/drawing/2014/main" id="{8A6BB597-41F4-432E-8432-8F39511B2941}"/>
              </a:ext>
            </a:extLst>
          </p:cNvPr>
          <p:cNvPicPr>
            <a:picLocks noGrp="1" noChangeAspect="1"/>
          </p:cNvPicPr>
          <p:nvPr>
            <p:ph type="pic" sz="quarter" idx="15"/>
          </p:nvPr>
        </p:nvPicPr>
        <p:blipFill>
          <a:blip r:embed="rId7">
            <a:extLst>
              <a:ext uri="{96DAC541-7B7A-43D3-8B79-37D633B846F1}">
                <asvg:svgBlip xmlns:asvg="http://schemas.microsoft.com/office/drawing/2016/SVG/main" r:embed="rId8"/>
              </a:ext>
            </a:extLst>
          </a:blip>
          <a:srcRect/>
          <a:stretch/>
        </p:blipFill>
        <p:spPr>
          <a:xfrm>
            <a:off x="4557482" y="1682632"/>
            <a:ext cx="1772604" cy="1772604"/>
          </a:xfrm>
        </p:spPr>
      </p:pic>
      <p:sp>
        <p:nvSpPr>
          <p:cNvPr id="41" name="Text Placeholder 40">
            <a:extLst>
              <a:ext uri="{FF2B5EF4-FFF2-40B4-BE49-F238E27FC236}">
                <a16:creationId xmlns:a16="http://schemas.microsoft.com/office/drawing/2014/main" id="{91181F6D-A54F-4289-8C36-80ECE3B2C8E2}"/>
              </a:ext>
            </a:extLst>
          </p:cNvPr>
          <p:cNvSpPr>
            <a:spLocks noGrp="1"/>
          </p:cNvSpPr>
          <p:nvPr>
            <p:ph type="body" sz="quarter" idx="18"/>
          </p:nvPr>
        </p:nvSpPr>
        <p:spPr>
          <a:xfrm>
            <a:off x="870012" y="3781425"/>
            <a:ext cx="2309751" cy="2424066"/>
          </a:xfrm>
        </p:spPr>
        <p:txBody>
          <a:bodyPr/>
          <a:lstStyle/>
          <a:p>
            <a:pPr marL="0" indent="0"/>
            <a:r>
              <a:rPr lang="en-US" sz="1800" dirty="0"/>
              <a:t>Letters of Intent:  The deadline for submitting letters of intent was November 3, 2022. We received 105 eligible LOIs.</a:t>
            </a:r>
          </a:p>
        </p:txBody>
      </p:sp>
      <p:sp>
        <p:nvSpPr>
          <p:cNvPr id="43" name="Text Placeholder 42">
            <a:extLst>
              <a:ext uri="{FF2B5EF4-FFF2-40B4-BE49-F238E27FC236}">
                <a16:creationId xmlns:a16="http://schemas.microsoft.com/office/drawing/2014/main" id="{E4387CED-5FBE-4AFF-B64D-975B5574F16F}"/>
              </a:ext>
            </a:extLst>
          </p:cNvPr>
          <p:cNvSpPr>
            <a:spLocks noGrp="1"/>
          </p:cNvSpPr>
          <p:nvPr>
            <p:ph type="body" sz="quarter" idx="20"/>
          </p:nvPr>
        </p:nvSpPr>
        <p:spPr>
          <a:xfrm>
            <a:off x="8293423" y="3821587"/>
            <a:ext cx="2217737" cy="2295128"/>
          </a:xfrm>
        </p:spPr>
        <p:txBody>
          <a:bodyPr/>
          <a:lstStyle/>
          <a:p>
            <a:pPr marL="0" indent="0">
              <a:spcBef>
                <a:spcPts val="0"/>
              </a:spcBef>
              <a:spcAft>
                <a:spcPts val="0"/>
              </a:spcAft>
            </a:pPr>
            <a:r>
              <a:rPr lang="en-US" sz="1800" dirty="0"/>
              <a:t>Internet Service Providers:</a:t>
            </a:r>
          </a:p>
          <a:p>
            <a:pPr marL="0" indent="0">
              <a:spcBef>
                <a:spcPts val="0"/>
              </a:spcBef>
              <a:spcAft>
                <a:spcPts val="0"/>
              </a:spcAft>
            </a:pPr>
            <a:r>
              <a:rPr lang="en-US" sz="1800" dirty="0"/>
              <a:t>Applications were received from 22 different ISPs. Awards for the $25 million are expected in the first week of March</a:t>
            </a:r>
          </a:p>
        </p:txBody>
      </p:sp>
      <p:sp>
        <p:nvSpPr>
          <p:cNvPr id="45" name="Text Placeholder 44">
            <a:extLst>
              <a:ext uri="{FF2B5EF4-FFF2-40B4-BE49-F238E27FC236}">
                <a16:creationId xmlns:a16="http://schemas.microsoft.com/office/drawing/2014/main" id="{FE5CD03B-066A-46AF-8FB8-E8A78074ABEF}"/>
              </a:ext>
            </a:extLst>
          </p:cNvPr>
          <p:cNvSpPr>
            <a:spLocks noGrp="1"/>
          </p:cNvSpPr>
          <p:nvPr>
            <p:ph type="body" sz="quarter" idx="22"/>
          </p:nvPr>
        </p:nvSpPr>
        <p:spPr>
          <a:xfrm>
            <a:off x="4557482" y="3763206"/>
            <a:ext cx="2358223" cy="2546153"/>
          </a:xfrm>
        </p:spPr>
        <p:txBody>
          <a:bodyPr/>
          <a:lstStyle/>
          <a:p>
            <a:pPr marL="0" indent="0"/>
            <a:r>
              <a:rPr lang="en-US" sz="1800" dirty="0"/>
              <a:t>Applications:          The deadline for submitting applications was January 3, 2023. We received 61 applications by the deadline.</a:t>
            </a:r>
          </a:p>
        </p:txBody>
      </p:sp>
      <p:sp>
        <p:nvSpPr>
          <p:cNvPr id="9" name="Slide Number Placeholder 8">
            <a:extLst>
              <a:ext uri="{FF2B5EF4-FFF2-40B4-BE49-F238E27FC236}">
                <a16:creationId xmlns:a16="http://schemas.microsoft.com/office/drawing/2014/main" id="{7AF9A883-CC44-4401-AE67-8FCEACB7DDDA}"/>
              </a:ext>
            </a:extLst>
          </p:cNvPr>
          <p:cNvSpPr>
            <a:spLocks noGrp="1"/>
          </p:cNvSpPr>
          <p:nvPr>
            <p:ph type="sldNum" sz="quarter" idx="12"/>
          </p:nvPr>
        </p:nvSpPr>
        <p:spPr>
          <a:xfrm>
            <a:off x="9948863" y="6507212"/>
            <a:ext cx="1692274" cy="153888"/>
          </a:xfrm>
        </p:spPr>
        <p:txBody>
          <a:bodyPr/>
          <a:lstStyle/>
          <a:p>
            <a:fld id="{DBA1B0FB-D917-4C8C-928F-313BD683BF39}" type="slidenum">
              <a:rPr lang="en-US" smtClean="0"/>
              <a:pPr/>
              <a:t>8</a:t>
            </a:fld>
            <a:endParaRPr lang="en-US"/>
          </a:p>
        </p:txBody>
      </p:sp>
    </p:spTree>
    <p:extLst>
      <p:ext uri="{BB962C8B-B14F-4D97-AF65-F5344CB8AC3E}">
        <p14:creationId xmlns:p14="http://schemas.microsoft.com/office/powerpoint/2010/main" val="297987666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grpSp>
        <p:nvGrpSpPr>
          <p:cNvPr id="26" name="Group 25">
            <a:extLst>
              <a:ext uri="{FF2B5EF4-FFF2-40B4-BE49-F238E27FC236}">
                <a16:creationId xmlns:a16="http://schemas.microsoft.com/office/drawing/2014/main" id="{3BDBC526-6DCD-4FF6-8395-D8C22E46E527}"/>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a:off x="613998" y="5334748"/>
            <a:ext cx="678135" cy="990000"/>
            <a:chOff x="10490969" y="1448827"/>
            <a:chExt cx="678135" cy="990000"/>
          </a:xfrm>
        </p:grpSpPr>
        <p:sp>
          <p:nvSpPr>
            <p:cNvPr id="27" name="Freeform: Shape 26">
              <a:extLst>
                <a:ext uri="{FF2B5EF4-FFF2-40B4-BE49-F238E27FC236}">
                  <a16:creationId xmlns:a16="http://schemas.microsoft.com/office/drawing/2014/main" id="{02ECB475-568C-47AC-B16D-2E202DEB2DE0}"/>
                </a:ext>
                <a:ext uri="{C183D7F6-B498-43B3-948B-1728B52AA6E4}">
                  <adec:decorative xmlns:adec="http://schemas.microsoft.com/office/drawing/2017/decorative" val="1"/>
                </a:ext>
              </a:extLst>
            </p:cNvPr>
            <p:cNvSpPr>
              <a:spLocks noChangeAspect="1"/>
            </p:cNvSpPr>
            <p:nvPr>
              <p:extLst>
                <p:ext uri="{386F3935-93C4-4BCD-93E2-E3B085C9AB24}">
                  <p16:designElem xmlns:p16="http://schemas.microsoft.com/office/powerpoint/2015/main" val="1"/>
                </p:ext>
              </p:extLst>
            </p:nvPr>
          </p:nvSpPr>
          <p:spPr>
            <a:xfrm rot="2700000" flipH="1" flipV="1">
              <a:off x="10268976" y="1743588"/>
              <a:ext cx="926985" cy="463493"/>
            </a:xfrm>
            <a:custGeom>
              <a:avLst/>
              <a:gdLst>
                <a:gd name="connsiteX0" fmla="*/ 1329373 w 2658746"/>
                <a:gd name="connsiteY0" fmla="*/ 0 h 1329373"/>
                <a:gd name="connsiteX1" fmla="*/ 2658746 w 2658746"/>
                <a:gd name="connsiteY1" fmla="*/ 1329373 h 1329373"/>
                <a:gd name="connsiteX2" fmla="*/ 1994059 w 2658746"/>
                <a:gd name="connsiteY2" fmla="*/ 1329373 h 1329373"/>
                <a:gd name="connsiteX3" fmla="*/ 1329373 w 2658746"/>
                <a:gd name="connsiteY3" fmla="*/ 664687 h 1329373"/>
                <a:gd name="connsiteX4" fmla="*/ 664687 w 2658746"/>
                <a:gd name="connsiteY4" fmla="*/ 1329373 h 1329373"/>
                <a:gd name="connsiteX5" fmla="*/ 0 w 2658746"/>
                <a:gd name="connsiteY5" fmla="*/ 1329373 h 1329373"/>
                <a:gd name="connsiteX6" fmla="*/ 1329373 w 2658746"/>
                <a:gd name="connsiteY6" fmla="*/ 0 h 1329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58746" h="1329373">
                  <a:moveTo>
                    <a:pt x="1329373" y="0"/>
                  </a:moveTo>
                  <a:cubicBezTo>
                    <a:pt x="2063565" y="0"/>
                    <a:pt x="2658746" y="595181"/>
                    <a:pt x="2658746" y="1329373"/>
                  </a:cubicBezTo>
                  <a:lnTo>
                    <a:pt x="1994059" y="1329373"/>
                  </a:lnTo>
                  <a:cubicBezTo>
                    <a:pt x="1994059" y="962277"/>
                    <a:pt x="1696469" y="664687"/>
                    <a:pt x="1329373" y="664687"/>
                  </a:cubicBezTo>
                  <a:cubicBezTo>
                    <a:pt x="962277" y="664687"/>
                    <a:pt x="664687" y="962277"/>
                    <a:pt x="664687" y="1329373"/>
                  </a:cubicBezTo>
                  <a:lnTo>
                    <a:pt x="0" y="1329373"/>
                  </a:lnTo>
                  <a:cubicBezTo>
                    <a:pt x="0" y="595181"/>
                    <a:pt x="595181" y="0"/>
                    <a:pt x="1329373" y="0"/>
                  </a:cubicBezTo>
                  <a:close/>
                </a:path>
              </a:pathLst>
            </a:custGeom>
            <a:solidFill>
              <a:schemeClr val="bg2"/>
            </a:solidFill>
            <a:ln>
              <a:noFill/>
            </a:ln>
            <a:effectLst>
              <a:innerShdw blurRad="127000" dist="50800" dir="13500000">
                <a:schemeClr val="accent1">
                  <a:lumMod val="40000"/>
                  <a:lumOff val="60000"/>
                  <a:alpha val="20000"/>
                </a:scheme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28" name="Oval 27">
              <a:extLst>
                <a:ext uri="{FF2B5EF4-FFF2-40B4-BE49-F238E27FC236}">
                  <a16:creationId xmlns:a16="http://schemas.microsoft.com/office/drawing/2014/main" id="{080D8764-525A-441E-B58F-068E82F09714}"/>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rot="8100000" flipH="1" flipV="1">
              <a:off x="11115555" y="1939340"/>
              <a:ext cx="53549" cy="233295"/>
            </a:xfrm>
            <a:prstGeom prst="ellipse">
              <a:avLst/>
            </a:prstGeom>
            <a:solidFill>
              <a:schemeClr val="bg2">
                <a:lumMod val="90000"/>
                <a:lumOff val="10000"/>
              </a:schemeClr>
            </a:solidFill>
            <a:ln>
              <a:noFill/>
            </a:ln>
            <a:effectLst>
              <a:innerShdw blurRad="63500" dist="2540000">
                <a:schemeClr val="accent1">
                  <a:lumMod val="60000"/>
                  <a:lumOff val="40000"/>
                  <a:alpha val="0"/>
                </a:scheme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29" name="Oval 28">
              <a:extLst>
                <a:ext uri="{FF2B5EF4-FFF2-40B4-BE49-F238E27FC236}">
                  <a16:creationId xmlns:a16="http://schemas.microsoft.com/office/drawing/2014/main" id="{11196109-6F2B-4738-B2FC-2CCC753AABD4}"/>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rot="8100000" flipH="1" flipV="1">
              <a:off x="10625042" y="1448827"/>
              <a:ext cx="53549" cy="233295"/>
            </a:xfrm>
            <a:prstGeom prst="ellipse">
              <a:avLst/>
            </a:prstGeom>
            <a:solidFill>
              <a:schemeClr val="bg2">
                <a:lumMod val="90000"/>
                <a:lumOff val="10000"/>
              </a:schemeClr>
            </a:solidFill>
            <a:ln>
              <a:noFill/>
            </a:ln>
            <a:effectLst>
              <a:innerShdw blurRad="63500" dist="2540000">
                <a:schemeClr val="accent1">
                  <a:lumMod val="60000"/>
                  <a:lumOff val="40000"/>
                  <a:alpha val="0"/>
                </a:scheme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30" name="Freeform: Shape 29">
              <a:extLst>
                <a:ext uri="{FF2B5EF4-FFF2-40B4-BE49-F238E27FC236}">
                  <a16:creationId xmlns:a16="http://schemas.microsoft.com/office/drawing/2014/main" id="{F7E468C2-69B8-470B-85E3-801A3CB1D7E2}"/>
                </a:ext>
                <a:ext uri="{C183D7F6-B498-43B3-948B-1728B52AA6E4}">
                  <adec:decorative xmlns:adec="http://schemas.microsoft.com/office/drawing/2017/decorative" val="1"/>
                </a:ext>
              </a:extLst>
            </p:cNvPr>
            <p:cNvSpPr>
              <a:spLocks noChangeAspect="1"/>
            </p:cNvSpPr>
            <p:nvPr>
              <p:extLst>
                <p:ext uri="{386F3935-93C4-4BCD-93E2-E3B085C9AB24}">
                  <p16:designElem xmlns:p16="http://schemas.microsoft.com/office/powerpoint/2015/main" val="1"/>
                </p:ext>
              </p:extLst>
            </p:nvPr>
          </p:nvSpPr>
          <p:spPr>
            <a:xfrm rot="2700000" flipH="1" flipV="1">
              <a:off x="10292519" y="1686748"/>
              <a:ext cx="926985" cy="530086"/>
            </a:xfrm>
            <a:custGeom>
              <a:avLst/>
              <a:gdLst>
                <a:gd name="connsiteX0" fmla="*/ 1329373 w 2658746"/>
                <a:gd name="connsiteY0" fmla="*/ 0 h 1329373"/>
                <a:gd name="connsiteX1" fmla="*/ 2658746 w 2658746"/>
                <a:gd name="connsiteY1" fmla="*/ 1329373 h 1329373"/>
                <a:gd name="connsiteX2" fmla="*/ 1994059 w 2658746"/>
                <a:gd name="connsiteY2" fmla="*/ 1329373 h 1329373"/>
                <a:gd name="connsiteX3" fmla="*/ 1329373 w 2658746"/>
                <a:gd name="connsiteY3" fmla="*/ 664687 h 1329373"/>
                <a:gd name="connsiteX4" fmla="*/ 664687 w 2658746"/>
                <a:gd name="connsiteY4" fmla="*/ 1329373 h 1329373"/>
                <a:gd name="connsiteX5" fmla="*/ 0 w 2658746"/>
                <a:gd name="connsiteY5" fmla="*/ 1329373 h 1329373"/>
                <a:gd name="connsiteX6" fmla="*/ 1329373 w 2658746"/>
                <a:gd name="connsiteY6" fmla="*/ 0 h 1329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58746" h="1329373">
                  <a:moveTo>
                    <a:pt x="1329373" y="0"/>
                  </a:moveTo>
                  <a:cubicBezTo>
                    <a:pt x="2063565" y="0"/>
                    <a:pt x="2658746" y="595181"/>
                    <a:pt x="2658746" y="1329373"/>
                  </a:cubicBezTo>
                  <a:lnTo>
                    <a:pt x="1994059" y="1329373"/>
                  </a:lnTo>
                  <a:cubicBezTo>
                    <a:pt x="1994059" y="962277"/>
                    <a:pt x="1696469" y="664687"/>
                    <a:pt x="1329373" y="664687"/>
                  </a:cubicBezTo>
                  <a:cubicBezTo>
                    <a:pt x="962277" y="664687"/>
                    <a:pt x="664687" y="962277"/>
                    <a:pt x="664687" y="1329373"/>
                  </a:cubicBezTo>
                  <a:lnTo>
                    <a:pt x="0" y="1329373"/>
                  </a:lnTo>
                  <a:cubicBezTo>
                    <a:pt x="0" y="595181"/>
                    <a:pt x="595181" y="0"/>
                    <a:pt x="1329373" y="0"/>
                  </a:cubicBezTo>
                  <a:close/>
                </a:path>
              </a:pathLst>
            </a:custGeom>
            <a:solidFill>
              <a:schemeClr val="bg2">
                <a:lumMod val="50000"/>
                <a:lumOff val="50000"/>
                <a:alpha val="20000"/>
              </a:schemeClr>
            </a:solidFill>
            <a:ln>
              <a:noFill/>
            </a:ln>
            <a:effectLst>
              <a:softEdge rad="1016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grpSp>
      <p:sp useBgFill="1">
        <p:nvSpPr>
          <p:cNvPr id="32" name="Rectangle 31">
            <a:extLst>
              <a:ext uri="{FF2B5EF4-FFF2-40B4-BE49-F238E27FC236}">
                <a16:creationId xmlns:a16="http://schemas.microsoft.com/office/drawing/2014/main" id="{A5931BE0-4B93-4D6C-878E-ACC59D6B458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itle 13">
            <a:extLst>
              <a:ext uri="{FF2B5EF4-FFF2-40B4-BE49-F238E27FC236}">
                <a16:creationId xmlns:a16="http://schemas.microsoft.com/office/drawing/2014/main" id="{C15EE852-24F1-4643-8082-AB45CFF2BA10}"/>
              </a:ext>
            </a:extLst>
          </p:cNvPr>
          <p:cNvSpPr>
            <a:spLocks noGrp="1"/>
          </p:cNvSpPr>
          <p:nvPr>
            <p:ph type="title"/>
          </p:nvPr>
        </p:nvSpPr>
        <p:spPr>
          <a:xfrm>
            <a:off x="550863" y="549276"/>
            <a:ext cx="5645751" cy="1713644"/>
          </a:xfrm>
        </p:spPr>
        <p:txBody>
          <a:bodyPr vert="horz" wrap="square" lIns="0" tIns="0" rIns="0" bIns="0" rtlCol="0" anchor="b" anchorCtr="0">
            <a:normAutofit/>
          </a:bodyPr>
          <a:lstStyle/>
          <a:p>
            <a:pPr>
              <a:lnSpc>
                <a:spcPct val="100000"/>
              </a:lnSpc>
            </a:pPr>
            <a:r>
              <a:rPr lang="en-US" sz="3600" dirty="0"/>
              <a:t>Technical Assistance Program, BEAD and Digital Equity</a:t>
            </a:r>
          </a:p>
        </p:txBody>
      </p:sp>
      <p:sp>
        <p:nvSpPr>
          <p:cNvPr id="15" name="Content Placeholder 14">
            <a:extLst>
              <a:ext uri="{FF2B5EF4-FFF2-40B4-BE49-F238E27FC236}">
                <a16:creationId xmlns:a16="http://schemas.microsoft.com/office/drawing/2014/main" id="{4139825C-53C7-44F4-A064-9795CECD081B}"/>
              </a:ext>
            </a:extLst>
          </p:cNvPr>
          <p:cNvSpPr>
            <a:spLocks noGrp="1"/>
          </p:cNvSpPr>
          <p:nvPr>
            <p:ph sz="quarter" idx="15"/>
          </p:nvPr>
        </p:nvSpPr>
        <p:spPr>
          <a:xfrm>
            <a:off x="550863" y="2677306"/>
            <a:ext cx="5437187" cy="3415519"/>
          </a:xfrm>
        </p:spPr>
        <p:txBody>
          <a:bodyPr vert="horz" wrap="square" lIns="0" tIns="0" rIns="0" bIns="0" rtlCol="0" anchor="t">
            <a:normAutofit fontScale="92500" lnSpcReduction="10000"/>
          </a:bodyPr>
          <a:lstStyle/>
          <a:p>
            <a:pPr>
              <a:buFont typeface="Arial" panose="020B0604020202020204" pitchFamily="34" charset="0"/>
              <a:buChar char="•"/>
            </a:pPr>
            <a:r>
              <a:rPr lang="en-US" sz="2000" dirty="0"/>
              <a:t>ADECA received a $1 million grant from EDA to provide broadband technical assistance to 10 counties and their cities and towns. Through the Broadband Equity, Access, and Deployment Program and the Digital Equity Program funds from the National Telecommunications and Information Administration, we will reach the remaining 57 counties. These activities will result in county profiles that will inform our required planning documents to NTIA and will allow us to access 100s of millions in additional funding. </a:t>
            </a:r>
          </a:p>
          <a:p>
            <a:pPr>
              <a:buFont typeface="Arial" panose="020B0604020202020204" pitchFamily="34" charset="0"/>
              <a:buChar char="•"/>
            </a:pPr>
            <a:endParaRPr lang="en-US" sz="2000" dirty="0"/>
          </a:p>
        </p:txBody>
      </p:sp>
      <p:pic>
        <p:nvPicPr>
          <p:cNvPr id="10" name="Content Placeholder 8" descr="Map&#10;&#10;Description automatically generated">
            <a:extLst>
              <a:ext uri="{FF2B5EF4-FFF2-40B4-BE49-F238E27FC236}">
                <a16:creationId xmlns:a16="http://schemas.microsoft.com/office/drawing/2014/main" id="{B3394F6E-D66B-4FEC-88F5-42586052BCA6}"/>
              </a:ext>
            </a:extLst>
          </p:cNvPr>
          <p:cNvPicPr>
            <a:picLocks noChangeAspect="1"/>
          </p:cNvPicPr>
          <p:nvPr/>
        </p:nvPicPr>
        <p:blipFill>
          <a:blip r:embed="rId2"/>
          <a:stretch>
            <a:fillRect/>
          </a:stretch>
        </p:blipFill>
        <p:spPr>
          <a:xfrm>
            <a:off x="7107444" y="549275"/>
            <a:ext cx="4348384" cy="5759450"/>
          </a:xfrm>
          <a:custGeom>
            <a:avLst/>
            <a:gdLst/>
            <a:ahLst/>
            <a:cxnLst/>
            <a:rect l="l" t="t" r="r" b="b"/>
            <a:pathLst>
              <a:path w="4713922" h="5759450">
                <a:moveTo>
                  <a:pt x="0" y="0"/>
                </a:moveTo>
                <a:lnTo>
                  <a:pt x="4713922" y="0"/>
                </a:lnTo>
                <a:lnTo>
                  <a:pt x="4713922" y="5759450"/>
                </a:lnTo>
                <a:lnTo>
                  <a:pt x="0" y="5759450"/>
                </a:lnTo>
                <a:close/>
              </a:path>
            </a:pathLst>
          </a:custGeom>
          <a:solidFill>
            <a:srgbClr val="000000">
              <a:alpha val="2000"/>
            </a:srgbClr>
          </a:solidFill>
        </p:spPr>
      </p:pic>
      <p:sp>
        <p:nvSpPr>
          <p:cNvPr id="21" name="Slide Number Placeholder 20">
            <a:extLst>
              <a:ext uri="{FF2B5EF4-FFF2-40B4-BE49-F238E27FC236}">
                <a16:creationId xmlns:a16="http://schemas.microsoft.com/office/drawing/2014/main" id="{1C563B34-DD53-4FB1-B8C2-8914E01C6365}"/>
              </a:ext>
            </a:extLst>
          </p:cNvPr>
          <p:cNvSpPr>
            <a:spLocks noGrp="1"/>
          </p:cNvSpPr>
          <p:nvPr>
            <p:ph type="sldNum" sz="quarter" idx="12"/>
          </p:nvPr>
        </p:nvSpPr>
        <p:spPr>
          <a:xfrm>
            <a:off x="9948863" y="6507212"/>
            <a:ext cx="1692274" cy="153888"/>
          </a:xfrm>
        </p:spPr>
        <p:txBody>
          <a:bodyPr vert="horz" wrap="square" lIns="0" tIns="0" rIns="0" bIns="0" rtlCol="0" anchor="ctr">
            <a:normAutofit/>
          </a:bodyPr>
          <a:lstStyle/>
          <a:p>
            <a:pPr>
              <a:spcAft>
                <a:spcPts val="600"/>
              </a:spcAft>
            </a:pPr>
            <a:fld id="{DBA1B0FB-D917-4C8C-928F-313BD683BF39}" type="slidenum">
              <a:rPr lang="en-US" smtClean="0">
                <a:solidFill>
                  <a:schemeClr val="tx1">
                    <a:alpha val="80000"/>
                  </a:schemeClr>
                </a:solidFill>
              </a:rPr>
              <a:pPr>
                <a:spcAft>
                  <a:spcPts val="600"/>
                </a:spcAft>
              </a:pPr>
              <a:t>9</a:t>
            </a:fld>
            <a:endParaRPr lang="en-US">
              <a:solidFill>
                <a:schemeClr val="tx1">
                  <a:alpha val="80000"/>
                </a:schemeClr>
              </a:solidFill>
            </a:endParaRPr>
          </a:p>
        </p:txBody>
      </p:sp>
    </p:spTree>
    <p:extLst>
      <p:ext uri="{BB962C8B-B14F-4D97-AF65-F5344CB8AC3E}">
        <p14:creationId xmlns:p14="http://schemas.microsoft.com/office/powerpoint/2010/main" val="39551831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3DFloatVTI">
  <a:themeElements>
    <a:clrScheme name="Float">
      <a:dk1>
        <a:sysClr val="windowText" lastClr="000000"/>
      </a:dk1>
      <a:lt1>
        <a:sysClr val="window" lastClr="FFFFFF"/>
      </a:lt1>
      <a:dk2>
        <a:srgbClr val="1B192E"/>
      </a:dk2>
      <a:lt2>
        <a:srgbClr val="EAE5EB"/>
      </a:lt2>
      <a:accent1>
        <a:srgbClr val="13BE89"/>
      </a:accent1>
      <a:accent2>
        <a:srgbClr val="12B1BF"/>
      </a:accent2>
      <a:accent3>
        <a:srgbClr val="D40AA8"/>
      </a:accent3>
      <a:accent4>
        <a:srgbClr val="B86E62"/>
      </a:accent4>
      <a:accent5>
        <a:srgbClr val="A3A3C1"/>
      </a:accent5>
      <a:accent6>
        <a:srgbClr val="37335B"/>
      </a:accent6>
      <a:hlink>
        <a:srgbClr val="0066FF"/>
      </a:hlink>
      <a:folHlink>
        <a:srgbClr val="666699"/>
      </a:folHlink>
    </a:clrScheme>
    <a:fontScheme name="Float">
      <a:majorFont>
        <a:latin typeface="Walbaum Display"/>
        <a:ea typeface=""/>
        <a:cs typeface=""/>
      </a:majorFont>
      <a:minorFont>
        <a:latin typeface="Gill Sans M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3DFloatVTI" id="{F59BA300-ED19-4B39-9AE3-7882B1DE8B78}" vid="{0FEC63E3-719F-4F50-9F1E-5B8BAF39109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925F50E3F8B8C44D9EA5BD2549956CF2" ma:contentTypeVersion="12" ma:contentTypeDescription="Create a new document." ma:contentTypeScope="" ma:versionID="f2691c27c4d3d8d86a57287bda33e3e4">
  <xsd:schema xmlns:xsd="http://www.w3.org/2001/XMLSchema" xmlns:xs="http://www.w3.org/2001/XMLSchema" xmlns:p="http://schemas.microsoft.com/office/2006/metadata/properties" xmlns:ns2="ead14a2b-0901-4851-9135-e440dd1a60d2" xmlns:ns3="bc761791-33a0-47b7-8145-9d3c2515a3a0" targetNamespace="http://schemas.microsoft.com/office/2006/metadata/properties" ma:root="true" ma:fieldsID="8e6ae30fa684a8f4a4319245b74a7f16" ns2:_="" ns3:_="">
    <xsd:import namespace="ead14a2b-0901-4851-9135-e440dd1a60d2"/>
    <xsd:import namespace="bc761791-33a0-47b7-8145-9d3c2515a3a0"/>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ServiceAutoTags" minOccurs="0"/>
                <xsd:element ref="ns2:MediaServiceGenerationTime" minOccurs="0"/>
                <xsd:element ref="ns2:MediaServiceEventHashCode" minOccurs="0"/>
                <xsd:element ref="ns2:MediaServiceOCR" minOccurs="0"/>
                <xsd:element ref="ns2:MediaServiceLocation" minOccurs="0"/>
                <xsd:element ref="ns2:MediaLengthInSeconds" minOccurs="0"/>
                <xsd:element ref="ns2:lcf76f155ced4ddcb4097134ff3c332f" minOccurs="0"/>
                <xsd:element ref="ns3: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ad14a2b-0901-4851-9135-e440dd1a60d2"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1" nillable="true" ma:displayName="Tags" ma:internalName="MediaServiceAutoTags" ma:readOnly="true">
      <xsd:simpleType>
        <xsd:restriction base="dms:Text"/>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Location" ma:index="15" nillable="true" ma:displayName="Location" ma:internalName="MediaServiceLocation" ma:readOnly="true">
      <xsd:simpleType>
        <xsd:restriction base="dms:Text"/>
      </xsd:simpleType>
    </xsd:element>
    <xsd:element name="MediaLengthInSeconds" ma:index="16" nillable="true" ma:displayName="MediaLengthInSeconds" ma:hidden="true" ma:internalName="MediaLengthInSeconds" ma:readOnly="true">
      <xsd:simpleType>
        <xsd:restriction base="dms:Unknown"/>
      </xsd:simpleType>
    </xsd:element>
    <xsd:element name="lcf76f155ced4ddcb4097134ff3c332f" ma:index="18" nillable="true" ma:taxonomy="true" ma:internalName="lcf76f155ced4ddcb4097134ff3c332f" ma:taxonomyFieldName="MediaServiceImageTags" ma:displayName="Image Tags" ma:readOnly="false" ma:fieldId="{5cf76f15-5ced-4ddc-b409-7134ff3c332f}" ma:taxonomyMulti="true" ma:sspId="75dbdce9-60e9-41e5-8608-85a453d28885"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bc761791-33a0-47b7-8145-9d3c2515a3a0" elementFormDefault="qualified">
    <xsd:import namespace="http://schemas.microsoft.com/office/2006/documentManagement/types"/>
    <xsd:import namespace="http://schemas.microsoft.com/office/infopath/2007/PartnerControls"/>
    <xsd:element name="TaxCatchAll" ma:index="19" nillable="true" ma:displayName="Taxonomy Catch All Column" ma:hidden="true" ma:list="{38985699-f427-45a7-93a3-105b7de166ff}" ma:internalName="TaxCatchAll" ma:showField="CatchAllData" ma:web="bc761791-33a0-47b7-8145-9d3c2515a3a0">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ead14a2b-0901-4851-9135-e440dd1a60d2">
      <Terms xmlns="http://schemas.microsoft.com/office/infopath/2007/PartnerControls"/>
    </lcf76f155ced4ddcb4097134ff3c332f>
    <TaxCatchAll xmlns="bc761791-33a0-47b7-8145-9d3c2515a3a0" xsi:nil="true"/>
  </documentManagement>
</p:properties>
</file>

<file path=customXml/itemProps1.xml><?xml version="1.0" encoding="utf-8"?>
<ds:datastoreItem xmlns:ds="http://schemas.openxmlformats.org/officeDocument/2006/customXml" ds:itemID="{904751AB-E840-446F-8D49-E697067EC887}">
  <ds:schemaRefs>
    <ds:schemaRef ds:uri="http://schemas.microsoft.com/sharepoint/v3/contenttype/forms"/>
  </ds:schemaRefs>
</ds:datastoreItem>
</file>

<file path=customXml/itemProps2.xml><?xml version="1.0" encoding="utf-8"?>
<ds:datastoreItem xmlns:ds="http://schemas.openxmlformats.org/officeDocument/2006/customXml" ds:itemID="{C35876B9-0B3C-4E7E-AE00-B4BB804B02CF}"/>
</file>

<file path=customXml/itemProps3.xml><?xml version="1.0" encoding="utf-8"?>
<ds:datastoreItem xmlns:ds="http://schemas.openxmlformats.org/officeDocument/2006/customXml" ds:itemID="{50811A92-D464-4AC4-A396-BA73B10CEEAC}">
  <ds:schemaRefs>
    <ds:schemaRef ds:uri="http://schemas.microsoft.com/office/2006/metadata/properties"/>
    <ds:schemaRef ds:uri="http://schemas.microsoft.com/office/infopath/2007/PartnerControls"/>
    <ds:schemaRef ds:uri="http://schemas.microsoft.com/sharepoint/v3"/>
    <ds:schemaRef ds:uri="71af3243-3dd4-4a8d-8c0d-dd76da1f02a5"/>
    <ds:schemaRef ds:uri="230e9df3-be65-4c73-a93b-d1236ebd677e"/>
    <ds:schemaRef ds:uri="5d87095d-ff1e-4808-9408-91d24e4452db"/>
    <ds:schemaRef ds:uri="e5ab66c7-856c-4cc8-ad3c-55c7e68619f9"/>
  </ds:schemaRefs>
</ds:datastoreItem>
</file>

<file path=docMetadata/LabelInfo.xml><?xml version="1.0" encoding="utf-8"?>
<clbl:labelList xmlns:clbl="http://schemas.microsoft.com/office/2020/mipLabelMetadata">
  <clbl:label id="{bedd5d6f-bcfc-46d4-918d-7fb210e57897}" enabled="0" method="" siteId="{bedd5d6f-bcfc-46d4-918d-7fb210e57897}" removed="1"/>
  <clbl:label id="{f42aa342-8706-4288-bd11-ebb85995028c}" enabled="1" method="Standard" siteId="{72f988bf-86f1-41af-91ab-2d7cd011db47}" removed="0"/>
</clbl:labelList>
</file>

<file path=docProps/app.xml><?xml version="1.0" encoding="utf-8"?>
<Properties xmlns="http://schemas.openxmlformats.org/officeDocument/2006/extended-properties" xmlns:vt="http://schemas.openxmlformats.org/officeDocument/2006/docPropsVTypes">
  <Template>{3C4A3162-6502-4B42-A117-778AA7607A43}tf33713516_win32</Template>
  <TotalTime>942</TotalTime>
  <Words>1103</Words>
  <Application>Microsoft Office PowerPoint</Application>
  <PresentationFormat>Widescreen</PresentationFormat>
  <Paragraphs>180</Paragraphs>
  <Slides>14</Slides>
  <Notes>7</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2</vt:i4>
      </vt:variant>
      <vt:variant>
        <vt:lpstr>Slide Titles</vt:lpstr>
      </vt:variant>
      <vt:variant>
        <vt:i4>14</vt:i4>
      </vt:variant>
    </vt:vector>
  </HeadingPairs>
  <TitlesOfParts>
    <vt:vector size="23" baseType="lpstr">
      <vt:lpstr>Arial</vt:lpstr>
      <vt:lpstr>Calibri</vt:lpstr>
      <vt:lpstr>Gill Sans MT</vt:lpstr>
      <vt:lpstr>Symbol</vt:lpstr>
      <vt:lpstr>Walbaum Display</vt:lpstr>
      <vt:lpstr>Wingdings</vt:lpstr>
      <vt:lpstr>3DFloatVTI</vt:lpstr>
      <vt:lpstr>think-cell Slide</vt:lpstr>
      <vt:lpstr>Acrobat Document</vt:lpstr>
      <vt:lpstr>Alabama Digital Expansion Division Annual Report</vt:lpstr>
      <vt:lpstr>Topics</vt:lpstr>
      <vt:lpstr>History</vt:lpstr>
      <vt:lpstr>Alabama Broadband Accessibility Fund Basics </vt:lpstr>
      <vt:lpstr>Funded Projects</vt:lpstr>
      <vt:lpstr>Funded Projects (continued)</vt:lpstr>
      <vt:lpstr>Funded Projects (continued)</vt:lpstr>
      <vt:lpstr>Current Applications </vt:lpstr>
      <vt:lpstr>Technical Assistance Program, BEAD and Digital Equity</vt:lpstr>
      <vt:lpstr>Middle Mile</vt:lpstr>
      <vt:lpstr>Mapping</vt:lpstr>
      <vt:lpstr>Mapping and the BEAD Allocation Process</vt:lpstr>
      <vt:lpstr>Summary of TAP, BEAD, &amp; Digital Equity Timelines</vt:lpstr>
      <vt:lpstr>The full annual report can be found on the ADECA website.  </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labama Digital Expansion Division Annual Report</dc:title>
  <dc:creator>Neighbors, Maureen</dc:creator>
  <cp:lastModifiedBy>Neighbors, Maureen</cp:lastModifiedBy>
  <cp:revision>2</cp:revision>
  <dcterms:created xsi:type="dcterms:W3CDTF">2023-01-05T18:42:01Z</dcterms:created>
  <dcterms:modified xsi:type="dcterms:W3CDTF">2023-01-09T19:13:4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685714D625ED474797DB2F14F95CF86E</vt:lpwstr>
  </property>
  <property fmtid="{D5CDD505-2E9C-101B-9397-08002B2CF9AE}" pid="3" name="MediaServiceImageTags">
    <vt:lpwstr/>
  </property>
</Properties>
</file>